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2" r:id="rId1"/>
  </p:sldMasterIdLst>
  <p:notesMasterIdLst>
    <p:notesMasterId r:id="rId7"/>
  </p:notesMasterIdLst>
  <p:handoutMasterIdLst>
    <p:handoutMasterId r:id="rId8"/>
  </p:handoutMasterIdLst>
  <p:sldIdLst>
    <p:sldId id="478" r:id="rId2"/>
    <p:sldId id="485" r:id="rId3"/>
    <p:sldId id="499" r:id="rId4"/>
    <p:sldId id="500" r:id="rId5"/>
    <p:sldId id="474" r:id="rId6"/>
  </p:sldIdLst>
  <p:sldSz cx="9144000" cy="5143500" type="screen16x9"/>
  <p:notesSz cx="7099300" cy="10234613"/>
  <p:defaultTextStyle>
    <a:defPPr>
      <a:defRPr lang="zh-CN"/>
    </a:defPPr>
    <a:lvl1pPr marL="0" algn="l" defTabSz="77637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8187" algn="l" defTabSz="77637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6375" algn="l" defTabSz="77637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4561" algn="l" defTabSz="77637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2748" algn="l" defTabSz="77637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0935" algn="l" defTabSz="77637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29121" algn="l" defTabSz="77637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17309" algn="l" defTabSz="77637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05496" algn="l" defTabSz="77637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935" userDrawn="1">
          <p15:clr>
            <a:srgbClr val="A4A3A4"/>
          </p15:clr>
        </p15:guide>
        <p15:guide id="2" pos="2018" userDrawn="1">
          <p15:clr>
            <a:srgbClr val="A4A3A4"/>
          </p15:clr>
        </p15:guide>
        <p15:guide id="3" pos="308" userDrawn="1">
          <p15:clr>
            <a:srgbClr val="A4A3A4"/>
          </p15:clr>
        </p15:guide>
        <p15:guide id="5" orient="horz" pos="2482" userDrawn="1">
          <p15:clr>
            <a:srgbClr val="A4A3A4"/>
          </p15:clr>
        </p15:guide>
        <p15:guide id="6" orient="horz" pos="701">
          <p15:clr>
            <a:srgbClr val="A4A3A4"/>
          </p15:clr>
        </p15:guide>
        <p15:guide id="7" orient="horz" pos="395">
          <p15:clr>
            <a:srgbClr val="A4A3A4"/>
          </p15:clr>
        </p15:guide>
        <p15:guide id="8" pos="1875">
          <p15:clr>
            <a:srgbClr val="A4A3A4"/>
          </p15:clr>
        </p15:guide>
        <p15:guide id="9" pos="284">
          <p15:clr>
            <a:srgbClr val="A4A3A4"/>
          </p15:clr>
        </p15:guide>
        <p15:guide id="10" pos="5647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BD03"/>
    <a:srgbClr val="FAE603"/>
    <a:srgbClr val="FFBF05"/>
    <a:srgbClr val="173247"/>
    <a:srgbClr val="0D2443"/>
    <a:srgbClr val="1B7196"/>
    <a:srgbClr val="103550"/>
    <a:srgbClr val="436981"/>
    <a:srgbClr val="43691E"/>
    <a:srgbClr val="17374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27102A9-8310-4765-A935-A1911B00CA55}" styleName="浅色样式 1 - 强调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59" autoAdjust="0"/>
    <p:restoredTop sz="90724" autoAdjust="0"/>
  </p:normalViewPr>
  <p:slideViewPr>
    <p:cSldViewPr snapToGrid="0" snapToObjects="1">
      <p:cViewPr varScale="1">
        <p:scale>
          <a:sx n="93" d="100"/>
          <a:sy n="93" d="100"/>
        </p:scale>
        <p:origin x="-768" y="-102"/>
      </p:cViewPr>
      <p:guideLst>
        <p:guide orient="horz" pos="935"/>
        <p:guide orient="horz" pos="2482"/>
        <p:guide orient="horz" pos="701"/>
        <p:guide orient="horz" pos="395"/>
        <p:guide pos="2018"/>
        <p:guide pos="308"/>
        <p:guide pos="1875"/>
        <p:guide pos="284"/>
        <p:guide pos="56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5" d="100"/>
          <a:sy n="45" d="100"/>
        </p:scale>
        <p:origin x="-3012" y="-114"/>
      </p:cViewPr>
      <p:guideLst>
        <p:guide orient="horz" pos="3223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2D543-8B53-4D44-89FA-61285D8C27E8}" type="datetimeFigureOut">
              <a:rPr lang="zh-CN" altLang="en-US"/>
              <a:pPr/>
              <a:t>2017/9/24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755D74-BF9F-BF4F-AA64-4460B5539FB8}" type="slidenum">
              <a:rPr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8227844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9FFEC638-C730-441C-B1EF-93F0A833662A}" type="datetimeFigureOut">
              <a:rPr lang="zh-CN" altLang="en-US" smtClean="0"/>
              <a:pPr/>
              <a:t>2017/9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C5983A0D-3BC6-446E-81DB-1DDDE02AEA9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26358386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63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8187" algn="l" defTabSz="7763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6375" algn="l" defTabSz="7763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4561" algn="l" defTabSz="7763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2748" algn="l" defTabSz="7763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0935" algn="l" defTabSz="7763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29121" algn="l" defTabSz="7763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17309" algn="l" defTabSz="7763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05496" algn="l" defTabSz="7763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image" Target="../media/image8.png"/><Relationship Id="rId21" Type="http://schemas.openxmlformats.org/officeDocument/2006/relationships/image" Target="../media/image26.jpe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image" Target="../media/image7.jpeg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image" Target="../media/image8.png"/><Relationship Id="rId21" Type="http://schemas.openxmlformats.org/officeDocument/2006/relationships/image" Target="../media/image28.jpe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image" Target="../media/image27.jpeg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8154" y="504192"/>
            <a:ext cx="8307692" cy="24976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pic>
        <p:nvPicPr>
          <p:cNvPr id="3" name="Picture 2" descr="http://www.bjlanbao.com/uploads/allimg/140325/1-14032515244422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3795886"/>
          </a:xfrm>
          <a:prstGeom prst="rect">
            <a:avLst/>
          </a:prstGeom>
          <a:noFill/>
        </p:spPr>
      </p:pic>
      <p:sp>
        <p:nvSpPr>
          <p:cNvPr id="4" name="矩形 7"/>
          <p:cNvSpPr>
            <a:spLocks noChangeArrowheads="1"/>
          </p:cNvSpPr>
          <p:nvPr userDrawn="1"/>
        </p:nvSpPr>
        <p:spPr bwMode="auto">
          <a:xfrm>
            <a:off x="0" y="0"/>
            <a:ext cx="9144000" cy="3795886"/>
          </a:xfrm>
          <a:prstGeom prst="rect">
            <a:avLst/>
          </a:prstGeom>
          <a:solidFill>
            <a:srgbClr val="354B5E">
              <a:alpha val="79999"/>
            </a:srgb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0" y="3795886"/>
            <a:ext cx="9144000" cy="13476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0" y="3795894"/>
            <a:ext cx="9144000" cy="72000"/>
          </a:xfrm>
          <a:prstGeom prst="rect">
            <a:avLst/>
          </a:prstGeom>
          <a:solidFill>
            <a:srgbClr val="C00000">
              <a:alpha val="70000"/>
            </a:srgb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zh-CN" altLang="en-US" sz="14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矩形 2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0679" tIns="30679" rIns="30679" bIns="30679" rtlCol="0" anchor="ctr"/>
          <a:lstStyle/>
          <a:p>
            <a:pPr algn="ctr"/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30" name="矩形 29"/>
          <p:cNvSpPr/>
          <p:nvPr userDrawn="1"/>
        </p:nvSpPr>
        <p:spPr>
          <a:xfrm>
            <a:off x="0" y="3587954"/>
            <a:ext cx="9144000" cy="81510"/>
          </a:xfrm>
          <a:prstGeom prst="rect">
            <a:avLst/>
          </a:prstGeom>
          <a:solidFill>
            <a:schemeClr val="accent6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zh-CN" altLang="en-US" sz="1200" b="1" dirty="0">
              <a:solidFill>
                <a:schemeClr val="bg1"/>
              </a:solidFill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0" y="519522"/>
            <a:ext cx="9144000" cy="81000"/>
          </a:xfrm>
          <a:prstGeom prst="rect">
            <a:avLst/>
          </a:prstGeom>
          <a:solidFill>
            <a:schemeClr val="accent2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zh-CN" altLang="en-US" sz="1200" b="1" dirty="0">
              <a:solidFill>
                <a:schemeClr val="bg1"/>
              </a:solidFill>
            </a:endParaRPr>
          </a:p>
        </p:txBody>
      </p:sp>
      <p:grpSp>
        <p:nvGrpSpPr>
          <p:cNvPr id="32" name="组 5"/>
          <p:cNvGrpSpPr/>
          <p:nvPr userDrawn="1"/>
        </p:nvGrpSpPr>
        <p:grpSpPr>
          <a:xfrm>
            <a:off x="0" y="519522"/>
            <a:ext cx="1833230" cy="3149687"/>
            <a:chOff x="107999" y="836712"/>
            <a:chExt cx="2016000" cy="4199582"/>
          </a:xfrm>
        </p:grpSpPr>
        <p:grpSp>
          <p:nvGrpSpPr>
            <p:cNvPr id="33" name="组 28"/>
            <p:cNvGrpSpPr/>
            <p:nvPr/>
          </p:nvGrpSpPr>
          <p:grpSpPr>
            <a:xfrm>
              <a:off x="2015999" y="836712"/>
              <a:ext cx="108000" cy="4199582"/>
              <a:chOff x="2271621" y="836712"/>
              <a:chExt cx="108000" cy="4199582"/>
            </a:xfrm>
          </p:grpSpPr>
          <p:sp>
            <p:nvSpPr>
              <p:cNvPr id="37" name="矩形 36"/>
              <p:cNvSpPr/>
              <p:nvPr/>
            </p:nvSpPr>
            <p:spPr>
              <a:xfrm>
                <a:off x="2271621" y="4928294"/>
                <a:ext cx="108000" cy="1080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矩形 37"/>
              <p:cNvSpPr/>
              <p:nvPr/>
            </p:nvSpPr>
            <p:spPr>
              <a:xfrm>
                <a:off x="2271621" y="836712"/>
                <a:ext cx="108000" cy="1080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4" name="组 4"/>
            <p:cNvGrpSpPr/>
            <p:nvPr/>
          </p:nvGrpSpPr>
          <p:grpSpPr>
            <a:xfrm>
              <a:off x="107999" y="956440"/>
              <a:ext cx="2016000" cy="3962086"/>
              <a:chOff x="-1" y="956440"/>
              <a:chExt cx="2271621" cy="3962086"/>
            </a:xfrm>
          </p:grpSpPr>
          <p:sp>
            <p:nvSpPr>
              <p:cNvPr id="35" name="矩形 34"/>
              <p:cNvSpPr/>
              <p:nvPr/>
            </p:nvSpPr>
            <p:spPr>
              <a:xfrm>
                <a:off x="-1" y="956440"/>
                <a:ext cx="2271621" cy="3962086"/>
              </a:xfrm>
              <a:prstGeom prst="rect">
                <a:avLst/>
              </a:prstGeom>
              <a:solidFill>
                <a:schemeClr val="accent4"/>
              </a:solidFill>
              <a:ln w="9525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zh-CN" altLang="en-US" sz="12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矩形 35"/>
              <p:cNvSpPr/>
              <p:nvPr/>
            </p:nvSpPr>
            <p:spPr>
              <a:xfrm>
                <a:off x="-1" y="1676333"/>
                <a:ext cx="2271621" cy="2520000"/>
              </a:xfrm>
              <a:prstGeom prst="rect">
                <a:avLst/>
              </a:prstGeom>
              <a:solidFill>
                <a:schemeClr val="bg1">
                  <a:alpha val="50000"/>
                </a:schemeClr>
              </a:solidFill>
              <a:ln w="9525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just">
                  <a:spcBef>
                    <a:spcPts val="1023"/>
                  </a:spcBef>
                  <a:spcAft>
                    <a:spcPts val="1023"/>
                  </a:spcAft>
                </a:pPr>
                <a:endParaRPr lang="zh-CN" altLang="en-US" sz="3100" b="1" dirty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39" name="图片 38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3232" y="609063"/>
            <a:ext cx="7310769" cy="2970000"/>
          </a:xfrm>
          <a:prstGeom prst="rect">
            <a:avLst/>
          </a:prstGeom>
        </p:spPr>
      </p:pic>
      <p:sp>
        <p:nvSpPr>
          <p:cNvPr id="40" name="矩形 39"/>
          <p:cNvSpPr/>
          <p:nvPr userDrawn="1"/>
        </p:nvSpPr>
        <p:spPr>
          <a:xfrm>
            <a:off x="0" y="3587954"/>
            <a:ext cx="9144000" cy="81510"/>
          </a:xfrm>
          <a:prstGeom prst="rect">
            <a:avLst/>
          </a:prstGeom>
          <a:solidFill>
            <a:schemeClr val="accent6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zh-CN" altLang="en-US" sz="1200" b="1" dirty="0">
              <a:solidFill>
                <a:schemeClr val="bg1"/>
              </a:solidFill>
            </a:endParaRPr>
          </a:p>
        </p:txBody>
      </p:sp>
      <p:sp>
        <p:nvSpPr>
          <p:cNvPr id="41" name="矩形 40"/>
          <p:cNvSpPr/>
          <p:nvPr userDrawn="1"/>
        </p:nvSpPr>
        <p:spPr>
          <a:xfrm>
            <a:off x="0" y="519522"/>
            <a:ext cx="9144000" cy="81000"/>
          </a:xfrm>
          <a:prstGeom prst="rect">
            <a:avLst/>
          </a:prstGeom>
          <a:solidFill>
            <a:schemeClr val="accent2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zh-CN" altLang="en-US" sz="1200" b="1" dirty="0">
              <a:solidFill>
                <a:schemeClr val="bg1"/>
              </a:solidFill>
            </a:endParaRPr>
          </a:p>
        </p:txBody>
      </p:sp>
      <p:grpSp>
        <p:nvGrpSpPr>
          <p:cNvPr id="42" name="组 15"/>
          <p:cNvGrpSpPr/>
          <p:nvPr userDrawn="1"/>
        </p:nvGrpSpPr>
        <p:grpSpPr>
          <a:xfrm>
            <a:off x="0" y="519522"/>
            <a:ext cx="1833230" cy="3149687"/>
            <a:chOff x="107999" y="836712"/>
            <a:chExt cx="2016000" cy="4199582"/>
          </a:xfrm>
        </p:grpSpPr>
        <p:grpSp>
          <p:nvGrpSpPr>
            <p:cNvPr id="43" name="组 16"/>
            <p:cNvGrpSpPr/>
            <p:nvPr userDrawn="1"/>
          </p:nvGrpSpPr>
          <p:grpSpPr>
            <a:xfrm>
              <a:off x="2015999" y="836712"/>
              <a:ext cx="108000" cy="4199582"/>
              <a:chOff x="2271621" y="836712"/>
              <a:chExt cx="108000" cy="4199582"/>
            </a:xfrm>
          </p:grpSpPr>
          <p:sp>
            <p:nvSpPr>
              <p:cNvPr id="47" name="矩形 46"/>
              <p:cNvSpPr/>
              <p:nvPr userDrawn="1"/>
            </p:nvSpPr>
            <p:spPr>
              <a:xfrm>
                <a:off x="2271621" y="4928294"/>
                <a:ext cx="108000" cy="1080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矩形 47"/>
              <p:cNvSpPr/>
              <p:nvPr userDrawn="1"/>
            </p:nvSpPr>
            <p:spPr>
              <a:xfrm>
                <a:off x="2271621" y="836712"/>
                <a:ext cx="108000" cy="1080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4" name="组 17"/>
            <p:cNvGrpSpPr/>
            <p:nvPr userDrawn="1"/>
          </p:nvGrpSpPr>
          <p:grpSpPr>
            <a:xfrm>
              <a:off x="107999" y="956440"/>
              <a:ext cx="2016000" cy="3962086"/>
              <a:chOff x="-1" y="956440"/>
              <a:chExt cx="2271621" cy="3962086"/>
            </a:xfrm>
          </p:grpSpPr>
          <p:sp>
            <p:nvSpPr>
              <p:cNvPr id="45" name="矩形 44"/>
              <p:cNvSpPr/>
              <p:nvPr userDrawn="1"/>
            </p:nvSpPr>
            <p:spPr>
              <a:xfrm>
                <a:off x="-1" y="956440"/>
                <a:ext cx="2271621" cy="3962086"/>
              </a:xfrm>
              <a:prstGeom prst="rect">
                <a:avLst/>
              </a:prstGeom>
              <a:solidFill>
                <a:schemeClr val="accent4"/>
              </a:solidFill>
              <a:ln w="9525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zh-CN" altLang="en-US" sz="12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矩形 45"/>
              <p:cNvSpPr/>
              <p:nvPr userDrawn="1"/>
            </p:nvSpPr>
            <p:spPr>
              <a:xfrm>
                <a:off x="-1" y="1676333"/>
                <a:ext cx="2271621" cy="2520000"/>
              </a:xfrm>
              <a:prstGeom prst="rect">
                <a:avLst/>
              </a:prstGeom>
              <a:solidFill>
                <a:schemeClr val="bg1">
                  <a:alpha val="50000"/>
                </a:schemeClr>
              </a:solidFill>
              <a:ln w="9525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just">
                  <a:spcBef>
                    <a:spcPts val="1023"/>
                  </a:spcBef>
                  <a:spcAft>
                    <a:spcPts val="1023"/>
                  </a:spcAft>
                </a:pPr>
                <a:endParaRPr lang="zh-CN" altLang="en-US" sz="3100" b="1" dirty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图片 4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9774" b="5188"/>
          <a:stretch/>
        </p:blipFill>
        <p:spPr>
          <a:xfrm>
            <a:off x="1833232" y="607593"/>
            <a:ext cx="7310769" cy="297147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17420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8154" y="504192"/>
            <a:ext cx="8307692" cy="26161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kumimoji="1"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="" xmlns:p14="http://schemas.microsoft.com/office/powerpoint/2010/main" val="9471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9144000" cy="915566"/>
          </a:xfrm>
          <a:prstGeom prst="rect">
            <a:avLst/>
          </a:prstGeom>
          <a:solidFill>
            <a:schemeClr val="bg1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zh-CN" altLang="en-US" sz="1400" b="1" dirty="0">
              <a:solidFill>
                <a:schemeClr val="tx1"/>
              </a:solidFill>
            </a:endParaRPr>
          </a:p>
        </p:txBody>
      </p:sp>
      <p:pic>
        <p:nvPicPr>
          <p:cNvPr id="3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46349" y="180064"/>
            <a:ext cx="1702115" cy="3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等腰三角形 3"/>
          <p:cNvSpPr/>
          <p:nvPr userDrawn="1"/>
        </p:nvSpPr>
        <p:spPr>
          <a:xfrm rot="5400000">
            <a:off x="-133747" y="771550"/>
            <a:ext cx="432048" cy="164554"/>
          </a:xfrm>
          <a:prstGeom prst="triangle">
            <a:avLst/>
          </a:prstGeom>
          <a:solidFill>
            <a:srgbClr val="C00000">
              <a:alpha val="70000"/>
            </a:srgb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0" hasCustomPrompt="1"/>
          </p:nvPr>
        </p:nvSpPr>
        <p:spPr>
          <a:xfrm>
            <a:off x="323850" y="638175"/>
            <a:ext cx="8424863" cy="431800"/>
          </a:xfrm>
          <a:prstGeom prst="rect">
            <a:avLst/>
          </a:prstGeom>
        </p:spPr>
        <p:txBody>
          <a:bodyPr/>
          <a:lstStyle>
            <a:lvl1pPr>
              <a:buNone/>
              <a:defRPr sz="2000" b="1"/>
            </a:lvl1pPr>
          </a:lstStyle>
          <a:p>
            <a:pPr lvl="0"/>
            <a:r>
              <a:rPr lang="zh-CN" altLang="en-US" dirty="0"/>
              <a:t>请在此输入</a:t>
            </a:r>
          </a:p>
        </p:txBody>
      </p:sp>
    </p:spTree>
    <p:extLst>
      <p:ext uri="{BB962C8B-B14F-4D97-AF65-F5344CB8AC3E}">
        <p14:creationId xmlns="" xmlns:p14="http://schemas.microsoft.com/office/powerpoint/2010/main" val="143295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/>
        </p:nvSpPr>
        <p:spPr>
          <a:xfrm>
            <a:off x="-8392" y="1"/>
            <a:ext cx="916078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527" tIns="30764" rIns="61527" bIns="30764" rtlCol="0" anchor="ctr"/>
          <a:lstStyle/>
          <a:p>
            <a:pPr algn="ctr"/>
            <a:endParaRPr lang="zh-CN" altLang="en-US" sz="1400" dirty="0"/>
          </a:p>
        </p:txBody>
      </p:sp>
      <p:sp>
        <p:nvSpPr>
          <p:cNvPr id="6" name="矩形 5"/>
          <p:cNvSpPr/>
          <p:nvPr/>
        </p:nvSpPr>
        <p:spPr>
          <a:xfrm>
            <a:off x="-8392" y="1"/>
            <a:ext cx="916078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527" tIns="30764" rIns="61527" bIns="30764" rtlCol="0" anchor="ctr"/>
          <a:lstStyle/>
          <a:p>
            <a:pPr algn="ctr"/>
            <a:endParaRPr lang="zh-CN" altLang="en-US" sz="1400" dirty="0"/>
          </a:p>
        </p:txBody>
      </p:sp>
      <p:sp>
        <p:nvSpPr>
          <p:cNvPr id="7" name="矩形 6"/>
          <p:cNvSpPr/>
          <p:nvPr/>
        </p:nvSpPr>
        <p:spPr>
          <a:xfrm>
            <a:off x="0" y="1"/>
            <a:ext cx="9144000" cy="375988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zh-CN" altLang="en-US" sz="1400" b="1" dirty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8" name="Text Box 35"/>
          <p:cNvSpPr txBox="1">
            <a:spLocks noChangeArrowheads="1"/>
          </p:cNvSpPr>
          <p:nvPr/>
        </p:nvSpPr>
        <p:spPr bwMode="auto">
          <a:xfrm>
            <a:off x="4398215" y="1257623"/>
            <a:ext cx="3589758" cy="132518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38963" rIns="0" bIns="38963">
            <a:spAutoFit/>
          </a:bodyPr>
          <a:lstStyle>
            <a:lvl1pPr algn="l" eaLnBrk="0" hangingPunct="0">
              <a:spcBef>
                <a:spcPct val="0"/>
              </a:spcBef>
              <a:defRPr kumimoji="1" sz="13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algn="l" eaLnBrk="0" hangingPunct="0">
              <a:spcBef>
                <a:spcPct val="0"/>
              </a:spcBef>
              <a:defRPr kumimoji="1" sz="13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algn="l" eaLnBrk="0" hangingPunct="0">
              <a:spcBef>
                <a:spcPct val="0"/>
              </a:spcBef>
              <a:defRPr kumimoji="1" sz="13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algn="l" eaLnBrk="0" hangingPunct="0">
              <a:spcBef>
                <a:spcPct val="0"/>
              </a:spcBef>
              <a:defRPr kumimoji="1" sz="13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algn="l" eaLnBrk="0" hangingPunct="0">
              <a:spcBef>
                <a:spcPct val="0"/>
              </a:spcBef>
              <a:defRPr kumimoji="1" sz="13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35000"/>
              </a:spcBef>
              <a:defRPr/>
            </a:pPr>
            <a:r>
              <a:rPr kumimoji="0" lang="zh-CN" altLang="en-US" sz="2700" b="1" dirty="0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rPr>
              <a:t>睿信咨询愿与您携手</a:t>
            </a:r>
            <a:r>
              <a:rPr kumimoji="0" lang="en-US" altLang="zh-CN" sz="2700" b="1" dirty="0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rPr>
              <a:t/>
            </a:r>
            <a:br>
              <a:rPr kumimoji="0" lang="en-US" altLang="zh-CN" sz="2700" b="1" dirty="0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rPr>
            </a:br>
            <a:r>
              <a:rPr kumimoji="0" lang="zh-CN" altLang="en-US" sz="2700" b="1" dirty="0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rPr>
              <a:t>努力共创美好的未来</a:t>
            </a:r>
            <a:endParaRPr kumimoji="0" lang="en-US" altLang="zh-CN" sz="2700" b="1" dirty="0">
              <a:solidFill>
                <a:schemeClr val="bg1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0" y="5002026"/>
            <a:ext cx="9144000" cy="27000"/>
          </a:xfrm>
          <a:prstGeom prst="rect">
            <a:avLst/>
          </a:prstGeom>
          <a:solidFill>
            <a:srgbClr val="0037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zh-CN" altLang="en-US" sz="1400" b="1" dirty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0" y="4779615"/>
            <a:ext cx="9144000" cy="189000"/>
          </a:xfrm>
          <a:prstGeom prst="rect">
            <a:avLst/>
          </a:prstGeom>
          <a:solidFill>
            <a:srgbClr val="0037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zh-CN" altLang="en-US" sz="1400" b="1" dirty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2" name="TextBox 4"/>
          <p:cNvSpPr txBox="1"/>
          <p:nvPr>
            <p:custDataLst>
              <p:tags r:id="rId1"/>
            </p:custDataLst>
          </p:nvPr>
        </p:nvSpPr>
        <p:spPr>
          <a:xfrm>
            <a:off x="803143" y="3850075"/>
            <a:ext cx="7537716" cy="964762"/>
          </a:xfrm>
          <a:prstGeom prst="rect">
            <a:avLst/>
          </a:prstGeom>
          <a:noFill/>
        </p:spPr>
        <p:txBody>
          <a:bodyPr wrap="none" lIns="30676" tIns="30676" rIns="30676" bIns="30676" rtlCol="0">
            <a:spAutoFit/>
          </a:bodyPr>
          <a:lstStyle/>
          <a:p>
            <a:pPr algn="just">
              <a:spcBef>
                <a:spcPts val="511"/>
              </a:spcBef>
              <a:spcAft>
                <a:spcPts val="511"/>
              </a:spcAft>
            </a:pPr>
            <a:r>
              <a:rPr kumimoji="1"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北京：</a:t>
            </a:r>
            <a:r>
              <a:rPr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朝阳区望京东路</a:t>
            </a:r>
            <a:r>
              <a:rPr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523</a:t>
            </a:r>
            <a:r>
              <a:rPr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号融科望京中心</a:t>
            </a:r>
            <a:r>
              <a:rPr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</a:t>
            </a:r>
            <a:r>
              <a:rPr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座</a:t>
            </a:r>
            <a:r>
              <a:rPr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9</a:t>
            </a:r>
            <a:r>
              <a:rPr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层</a:t>
            </a:r>
            <a:r>
              <a:rPr kumimoji="1"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（</a:t>
            </a:r>
            <a:r>
              <a:rPr kumimoji="1"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100022</a:t>
            </a:r>
            <a:r>
              <a:rPr kumimoji="1"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）</a:t>
            </a:r>
            <a:r>
              <a:rPr kumimoji="1"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		010-6656 6588</a:t>
            </a:r>
          </a:p>
          <a:p>
            <a:pPr algn="just">
              <a:spcBef>
                <a:spcPts val="511"/>
              </a:spcBef>
              <a:spcAft>
                <a:spcPts val="511"/>
              </a:spcAft>
            </a:pPr>
            <a:r>
              <a:rPr kumimoji="1"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上海：</a:t>
            </a:r>
            <a:r>
              <a:rPr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长宁区延安西路</a:t>
            </a:r>
            <a:r>
              <a:rPr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726</a:t>
            </a:r>
            <a:r>
              <a:rPr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号华敏翰尊国际大厦</a:t>
            </a:r>
            <a:r>
              <a:rPr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4</a:t>
            </a:r>
            <a:r>
              <a:rPr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楼</a:t>
            </a:r>
            <a:r>
              <a:rPr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</a:t>
            </a:r>
            <a:r>
              <a:rPr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座</a:t>
            </a:r>
            <a:r>
              <a:rPr kumimoji="1"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（</a:t>
            </a:r>
            <a:r>
              <a:rPr kumimoji="1"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200050</a:t>
            </a:r>
            <a:r>
              <a:rPr kumimoji="1"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）      </a:t>
            </a:r>
            <a:r>
              <a:rPr kumimoji="1"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	021-6245 8809</a:t>
            </a:r>
          </a:p>
          <a:p>
            <a:pPr algn="just">
              <a:spcBef>
                <a:spcPts val="511"/>
              </a:spcBef>
              <a:spcAft>
                <a:spcPts val="511"/>
              </a:spcAft>
            </a:pPr>
            <a:r>
              <a:rPr kumimoji="1"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广州：天河区花城大道</a:t>
            </a:r>
            <a:r>
              <a:rPr kumimoji="1"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85</a:t>
            </a:r>
            <a:r>
              <a:rPr kumimoji="1"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号高德置地广场第一期</a:t>
            </a:r>
            <a:r>
              <a:rPr kumimoji="1"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A</a:t>
            </a:r>
            <a:r>
              <a:rPr kumimoji="1"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座</a:t>
            </a:r>
            <a:r>
              <a:rPr kumimoji="1"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12</a:t>
            </a:r>
            <a:r>
              <a:rPr kumimoji="1"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楼（</a:t>
            </a:r>
            <a:r>
              <a:rPr kumimoji="1"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510613</a:t>
            </a:r>
            <a:r>
              <a:rPr kumimoji="1" lang="zh-CN" altLang="en-US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）</a:t>
            </a:r>
            <a:r>
              <a:rPr kumimoji="1" lang="en-US" altLang="zh-CN" sz="1400" b="1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		020-2826 1921</a:t>
            </a:r>
            <a:endParaRPr kumimoji="1" lang="zh-CN" altLang="en-US" sz="1400" b="1" kern="1200" dirty="0">
              <a:solidFill>
                <a:schemeClr val="tx1"/>
              </a:solidFill>
              <a:latin typeface="+mn-lt"/>
              <a:ea typeface="+mn-ea"/>
              <a:cs typeface="Arial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147" y="806746"/>
            <a:ext cx="2558769" cy="2079000"/>
          </a:xfrm>
          <a:prstGeom prst="rect">
            <a:avLst/>
          </a:prstGeom>
        </p:spPr>
      </p:pic>
      <p:pic>
        <p:nvPicPr>
          <p:cNvPr id="13" name="图片 12"/>
          <p:cNvPicPr>
            <a:picLocks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-554" y="0"/>
            <a:ext cx="9144554" cy="5143500"/>
          </a:xfrm>
          <a:prstGeom prst="rect">
            <a:avLst/>
          </a:prstGeom>
        </p:spPr>
      </p:pic>
      <p:sp>
        <p:nvSpPr>
          <p:cNvPr id="14" name="矩形 13"/>
          <p:cNvSpPr/>
          <p:nvPr userDrawn="1"/>
        </p:nvSpPr>
        <p:spPr>
          <a:xfrm>
            <a:off x="-554" y="3901500"/>
            <a:ext cx="9145108" cy="1242000"/>
          </a:xfrm>
          <a:prstGeom prst="rect">
            <a:avLst/>
          </a:prstGeom>
          <a:solidFill>
            <a:schemeClr val="bg1">
              <a:alpha val="44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4754" tIns="30679" rIns="214754" bIns="30679" rtlCol="0" anchor="ctr"/>
          <a:lstStyle/>
          <a:p>
            <a:pPr algn="r">
              <a:spcBef>
                <a:spcPts val="511"/>
              </a:spcBef>
              <a:spcAft>
                <a:spcPts val="511"/>
              </a:spcAft>
            </a:pPr>
            <a:r>
              <a:rPr kumimoji="1"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北京：</a:t>
            </a:r>
            <a:r>
              <a:rPr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朝阳区望京东路</a:t>
            </a:r>
            <a:r>
              <a:rPr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523</a:t>
            </a:r>
            <a:r>
              <a:rPr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号融科望京中心</a:t>
            </a:r>
            <a:r>
              <a:rPr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A</a:t>
            </a:r>
            <a:r>
              <a:rPr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座</a:t>
            </a:r>
            <a:r>
              <a:rPr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9</a:t>
            </a:r>
            <a:r>
              <a:rPr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层</a:t>
            </a:r>
            <a:r>
              <a:rPr kumimoji="1"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（</a:t>
            </a:r>
            <a:r>
              <a:rPr kumimoji="1"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100022</a:t>
            </a:r>
            <a:r>
              <a:rPr kumimoji="1"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）	</a:t>
            </a:r>
            <a:r>
              <a:rPr kumimoji="1"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010-6656 6588</a:t>
            </a:r>
          </a:p>
          <a:p>
            <a:pPr algn="r">
              <a:spcBef>
                <a:spcPts val="511"/>
              </a:spcBef>
              <a:spcAft>
                <a:spcPts val="511"/>
              </a:spcAft>
            </a:pPr>
            <a:r>
              <a:rPr kumimoji="1"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上海：</a:t>
            </a:r>
            <a:r>
              <a:rPr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长宁区延安西路</a:t>
            </a:r>
            <a:r>
              <a:rPr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726</a:t>
            </a:r>
            <a:r>
              <a:rPr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号华敏翰尊国际大厦</a:t>
            </a:r>
            <a:r>
              <a:rPr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24</a:t>
            </a:r>
            <a:r>
              <a:rPr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楼</a:t>
            </a:r>
            <a:r>
              <a:rPr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A</a:t>
            </a:r>
            <a:r>
              <a:rPr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+mn-cs"/>
              </a:rPr>
              <a:t>座</a:t>
            </a:r>
            <a:r>
              <a:rPr kumimoji="1"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（</a:t>
            </a:r>
            <a:r>
              <a:rPr kumimoji="1"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200050</a:t>
            </a:r>
            <a:r>
              <a:rPr kumimoji="1"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）	</a:t>
            </a:r>
            <a:r>
              <a:rPr kumimoji="1"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021-6245 8809</a:t>
            </a:r>
          </a:p>
          <a:p>
            <a:pPr algn="r">
              <a:spcBef>
                <a:spcPts val="511"/>
              </a:spcBef>
              <a:spcAft>
                <a:spcPts val="511"/>
              </a:spcAft>
            </a:pPr>
            <a:r>
              <a:rPr kumimoji="1"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广州：天河区花城大道</a:t>
            </a:r>
            <a:r>
              <a:rPr kumimoji="1"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85</a:t>
            </a:r>
            <a:r>
              <a:rPr kumimoji="1"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号高德置地广场第一期</a:t>
            </a:r>
            <a:r>
              <a:rPr kumimoji="1"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A</a:t>
            </a:r>
            <a:r>
              <a:rPr kumimoji="1"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座</a:t>
            </a:r>
            <a:r>
              <a:rPr kumimoji="1"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12</a:t>
            </a:r>
            <a:r>
              <a:rPr kumimoji="1"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楼（</a:t>
            </a:r>
            <a:r>
              <a:rPr kumimoji="1"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510613</a:t>
            </a:r>
            <a:r>
              <a:rPr kumimoji="1" lang="zh-CN" altLang="en-US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）	</a:t>
            </a:r>
            <a:r>
              <a:rPr kumimoji="1" lang="en-US" altLang="zh-CN" sz="1400" b="1" kern="1200" dirty="0">
                <a:solidFill>
                  <a:schemeClr val="accent1"/>
                </a:solidFill>
                <a:effectLst>
                  <a:outerShdw dist="25400" dir="2700000" algn="tl" rotWithShape="0">
                    <a:schemeClr val="bg1"/>
                  </a:outerShdw>
                </a:effectLst>
                <a:latin typeface="+mn-lt"/>
                <a:ea typeface="+mn-ea"/>
                <a:cs typeface="Arial" pitchFamily="34" charset="0"/>
              </a:rPr>
              <a:t>020-2826 1921</a:t>
            </a:r>
            <a:endParaRPr kumimoji="1" lang="zh-CN" altLang="en-US" sz="1400" b="1" kern="1200" dirty="0">
              <a:solidFill>
                <a:schemeClr val="accent1"/>
              </a:solidFill>
              <a:effectLst>
                <a:outerShdw dist="25400" dir="2700000" algn="tl" rotWithShape="0">
                  <a:schemeClr val="bg1"/>
                </a:outerShdw>
              </a:effectLst>
              <a:latin typeface="+mn-lt"/>
              <a:ea typeface="+mn-ea"/>
              <a:cs typeface="Arial" pitchFamily="34" charset="0"/>
            </a:endParaRPr>
          </a:p>
        </p:txBody>
      </p: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458" y="4117500"/>
            <a:ext cx="996923" cy="810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761772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Slide">
    <p:bg>
      <p:bgPr>
        <a:blipFill dpi="0" rotWithShape="1">
          <a:blip r:embed="rId2" cstate="print">
            <a:lum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7" name="Straight Connector 106"/>
          <p:cNvCxnSpPr/>
          <p:nvPr userDrawn="1"/>
        </p:nvCxnSpPr>
        <p:spPr>
          <a:xfrm flipV="1">
            <a:off x="411481" y="3494644"/>
            <a:ext cx="782361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22"/>
          <p:cNvGrpSpPr>
            <a:grpSpLocks noChangeAspect="1"/>
          </p:cNvGrpSpPr>
          <p:nvPr userDrawn="1"/>
        </p:nvGrpSpPr>
        <p:grpSpPr bwMode="black">
          <a:xfrm>
            <a:off x="411480" y="2261711"/>
            <a:ext cx="2571109" cy="1109282"/>
            <a:chOff x="-1037" y="57"/>
            <a:chExt cx="9758" cy="4210"/>
          </a:xfrm>
          <a:solidFill>
            <a:schemeClr val="tx2"/>
          </a:solidFill>
        </p:grpSpPr>
        <p:sp>
          <p:nvSpPr>
            <p:cNvPr id="32" name="Freeform 23"/>
            <p:cNvSpPr>
              <a:spLocks/>
            </p:cNvSpPr>
            <p:nvPr userDrawn="1"/>
          </p:nvSpPr>
          <p:spPr bwMode="black">
            <a:xfrm>
              <a:off x="3627" y="3777"/>
              <a:ext cx="438" cy="490"/>
            </a:xfrm>
            <a:custGeom>
              <a:avLst/>
              <a:gdLst>
                <a:gd name="T0" fmla="*/ 159 w 185"/>
                <a:gd name="T1" fmla="*/ 125 h 207"/>
                <a:gd name="T2" fmla="*/ 159 w 185"/>
                <a:gd name="T3" fmla="*/ 162 h 207"/>
                <a:gd name="T4" fmla="*/ 134 w 185"/>
                <a:gd name="T5" fmla="*/ 176 h 207"/>
                <a:gd name="T6" fmla="*/ 100 w 185"/>
                <a:gd name="T7" fmla="*/ 183 h 207"/>
                <a:gd name="T8" fmla="*/ 63 w 185"/>
                <a:gd name="T9" fmla="*/ 174 h 207"/>
                <a:gd name="T10" fmla="*/ 36 w 185"/>
                <a:gd name="T11" fmla="*/ 147 h 207"/>
                <a:gd name="T12" fmla="*/ 27 w 185"/>
                <a:gd name="T13" fmla="*/ 103 h 207"/>
                <a:gd name="T14" fmla="*/ 35 w 185"/>
                <a:gd name="T15" fmla="*/ 62 h 207"/>
                <a:gd name="T16" fmla="*/ 47 w 185"/>
                <a:gd name="T17" fmla="*/ 43 h 207"/>
                <a:gd name="T18" fmla="*/ 69 w 185"/>
                <a:gd name="T19" fmla="*/ 28 h 207"/>
                <a:gd name="T20" fmla="*/ 100 w 185"/>
                <a:gd name="T21" fmla="*/ 22 h 207"/>
                <a:gd name="T22" fmla="*/ 128 w 185"/>
                <a:gd name="T23" fmla="*/ 28 h 207"/>
                <a:gd name="T24" fmla="*/ 147 w 185"/>
                <a:gd name="T25" fmla="*/ 42 h 207"/>
                <a:gd name="T26" fmla="*/ 158 w 185"/>
                <a:gd name="T27" fmla="*/ 66 h 207"/>
                <a:gd name="T28" fmla="*/ 182 w 185"/>
                <a:gd name="T29" fmla="*/ 59 h 207"/>
                <a:gd name="T30" fmla="*/ 167 w 185"/>
                <a:gd name="T31" fmla="*/ 26 h 207"/>
                <a:gd name="T32" fmla="*/ 139 w 185"/>
                <a:gd name="T33" fmla="*/ 7 h 207"/>
                <a:gd name="T34" fmla="*/ 100 w 185"/>
                <a:gd name="T35" fmla="*/ 0 h 207"/>
                <a:gd name="T36" fmla="*/ 47 w 185"/>
                <a:gd name="T37" fmla="*/ 12 h 207"/>
                <a:gd name="T38" fmla="*/ 12 w 185"/>
                <a:gd name="T39" fmla="*/ 50 h 207"/>
                <a:gd name="T40" fmla="*/ 0 w 185"/>
                <a:gd name="T41" fmla="*/ 104 h 207"/>
                <a:gd name="T42" fmla="*/ 12 w 185"/>
                <a:gd name="T43" fmla="*/ 158 h 207"/>
                <a:gd name="T44" fmla="*/ 48 w 185"/>
                <a:gd name="T45" fmla="*/ 194 h 207"/>
                <a:gd name="T46" fmla="*/ 102 w 185"/>
                <a:gd name="T47" fmla="*/ 207 h 207"/>
                <a:gd name="T48" fmla="*/ 145 w 185"/>
                <a:gd name="T49" fmla="*/ 199 h 207"/>
                <a:gd name="T50" fmla="*/ 185 w 185"/>
                <a:gd name="T51" fmla="*/ 176 h 207"/>
                <a:gd name="T52" fmla="*/ 185 w 185"/>
                <a:gd name="T53" fmla="*/ 101 h 207"/>
                <a:gd name="T54" fmla="*/ 100 w 185"/>
                <a:gd name="T55" fmla="*/ 101 h 207"/>
                <a:gd name="T56" fmla="*/ 100 w 185"/>
                <a:gd name="T57" fmla="*/ 125 h 207"/>
                <a:gd name="T58" fmla="*/ 159 w 185"/>
                <a:gd name="T59" fmla="*/ 12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5" h="207">
                  <a:moveTo>
                    <a:pt x="159" y="125"/>
                  </a:moveTo>
                  <a:cubicBezTo>
                    <a:pt x="159" y="162"/>
                    <a:pt x="159" y="162"/>
                    <a:pt x="159" y="162"/>
                  </a:cubicBezTo>
                  <a:cubicBezTo>
                    <a:pt x="153" y="167"/>
                    <a:pt x="145" y="172"/>
                    <a:pt x="134" y="176"/>
                  </a:cubicBezTo>
                  <a:cubicBezTo>
                    <a:pt x="123" y="181"/>
                    <a:pt x="112" y="183"/>
                    <a:pt x="100" y="183"/>
                  </a:cubicBezTo>
                  <a:cubicBezTo>
                    <a:pt x="87" y="183"/>
                    <a:pt x="75" y="180"/>
                    <a:pt x="63" y="174"/>
                  </a:cubicBezTo>
                  <a:cubicBezTo>
                    <a:pt x="51" y="168"/>
                    <a:pt x="42" y="159"/>
                    <a:pt x="36" y="147"/>
                  </a:cubicBezTo>
                  <a:cubicBezTo>
                    <a:pt x="30" y="135"/>
                    <a:pt x="27" y="120"/>
                    <a:pt x="27" y="103"/>
                  </a:cubicBezTo>
                  <a:cubicBezTo>
                    <a:pt x="27" y="88"/>
                    <a:pt x="30" y="75"/>
                    <a:pt x="35" y="62"/>
                  </a:cubicBezTo>
                  <a:cubicBezTo>
                    <a:pt x="38" y="55"/>
                    <a:pt x="42" y="49"/>
                    <a:pt x="47" y="43"/>
                  </a:cubicBezTo>
                  <a:cubicBezTo>
                    <a:pt x="53" y="37"/>
                    <a:pt x="60" y="32"/>
                    <a:pt x="69" y="28"/>
                  </a:cubicBezTo>
                  <a:cubicBezTo>
                    <a:pt x="77" y="24"/>
                    <a:pt x="88" y="22"/>
                    <a:pt x="100" y="22"/>
                  </a:cubicBezTo>
                  <a:cubicBezTo>
                    <a:pt x="110" y="22"/>
                    <a:pt x="119" y="24"/>
                    <a:pt x="128" y="28"/>
                  </a:cubicBezTo>
                  <a:cubicBezTo>
                    <a:pt x="136" y="31"/>
                    <a:pt x="142" y="36"/>
                    <a:pt x="147" y="42"/>
                  </a:cubicBezTo>
                  <a:cubicBezTo>
                    <a:pt x="151" y="48"/>
                    <a:pt x="155" y="56"/>
                    <a:pt x="158" y="66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78" y="46"/>
                    <a:pt x="173" y="35"/>
                    <a:pt x="167" y="26"/>
                  </a:cubicBezTo>
                  <a:cubicBezTo>
                    <a:pt x="160" y="18"/>
                    <a:pt x="151" y="12"/>
                    <a:pt x="139" y="7"/>
                  </a:cubicBezTo>
                  <a:cubicBezTo>
                    <a:pt x="127" y="2"/>
                    <a:pt x="114" y="0"/>
                    <a:pt x="100" y="0"/>
                  </a:cubicBezTo>
                  <a:cubicBezTo>
                    <a:pt x="80" y="0"/>
                    <a:pt x="62" y="4"/>
                    <a:pt x="47" y="12"/>
                  </a:cubicBezTo>
                  <a:cubicBezTo>
                    <a:pt x="32" y="20"/>
                    <a:pt x="20" y="33"/>
                    <a:pt x="12" y="50"/>
                  </a:cubicBezTo>
                  <a:cubicBezTo>
                    <a:pt x="4" y="67"/>
                    <a:pt x="0" y="85"/>
                    <a:pt x="0" y="104"/>
                  </a:cubicBezTo>
                  <a:cubicBezTo>
                    <a:pt x="0" y="124"/>
                    <a:pt x="4" y="142"/>
                    <a:pt x="12" y="158"/>
                  </a:cubicBezTo>
                  <a:cubicBezTo>
                    <a:pt x="20" y="174"/>
                    <a:pt x="32" y="186"/>
                    <a:pt x="48" y="194"/>
                  </a:cubicBezTo>
                  <a:cubicBezTo>
                    <a:pt x="64" y="203"/>
                    <a:pt x="82" y="207"/>
                    <a:pt x="102" y="207"/>
                  </a:cubicBezTo>
                  <a:cubicBezTo>
                    <a:pt x="117" y="207"/>
                    <a:pt x="131" y="204"/>
                    <a:pt x="145" y="199"/>
                  </a:cubicBezTo>
                  <a:cubicBezTo>
                    <a:pt x="158" y="194"/>
                    <a:pt x="172" y="186"/>
                    <a:pt x="185" y="17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00" y="101"/>
                    <a:pt x="100" y="101"/>
                    <a:pt x="100" y="101"/>
                  </a:cubicBezTo>
                  <a:cubicBezTo>
                    <a:pt x="100" y="125"/>
                    <a:pt x="100" y="125"/>
                    <a:pt x="100" y="125"/>
                  </a:cubicBezTo>
                  <a:lnTo>
                    <a:pt x="159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4"/>
            <p:cNvSpPr>
              <a:spLocks noEditPoints="1"/>
            </p:cNvSpPr>
            <p:nvPr userDrawn="1"/>
          </p:nvSpPr>
          <p:spPr bwMode="black">
            <a:xfrm>
              <a:off x="4124" y="3785"/>
              <a:ext cx="418" cy="473"/>
            </a:xfrm>
            <a:custGeom>
              <a:avLst/>
              <a:gdLst>
                <a:gd name="T0" fmla="*/ 27 w 177"/>
                <a:gd name="T1" fmla="*/ 200 h 200"/>
                <a:gd name="T2" fmla="*/ 27 w 177"/>
                <a:gd name="T3" fmla="*/ 111 h 200"/>
                <a:gd name="T4" fmla="*/ 58 w 177"/>
                <a:gd name="T5" fmla="*/ 111 h 200"/>
                <a:gd name="T6" fmla="*/ 72 w 177"/>
                <a:gd name="T7" fmla="*/ 112 h 200"/>
                <a:gd name="T8" fmla="*/ 84 w 177"/>
                <a:gd name="T9" fmla="*/ 118 h 200"/>
                <a:gd name="T10" fmla="*/ 98 w 177"/>
                <a:gd name="T11" fmla="*/ 131 h 200"/>
                <a:gd name="T12" fmla="*/ 117 w 177"/>
                <a:gd name="T13" fmla="*/ 159 h 200"/>
                <a:gd name="T14" fmla="*/ 143 w 177"/>
                <a:gd name="T15" fmla="*/ 200 h 200"/>
                <a:gd name="T16" fmla="*/ 177 w 177"/>
                <a:gd name="T17" fmla="*/ 200 h 200"/>
                <a:gd name="T18" fmla="*/ 142 w 177"/>
                <a:gd name="T19" fmla="*/ 146 h 200"/>
                <a:gd name="T20" fmla="*/ 120 w 177"/>
                <a:gd name="T21" fmla="*/ 119 h 200"/>
                <a:gd name="T22" fmla="*/ 104 w 177"/>
                <a:gd name="T23" fmla="*/ 109 h 200"/>
                <a:gd name="T24" fmla="*/ 147 w 177"/>
                <a:gd name="T25" fmla="*/ 91 h 200"/>
                <a:gd name="T26" fmla="*/ 160 w 177"/>
                <a:gd name="T27" fmla="*/ 55 h 200"/>
                <a:gd name="T28" fmla="*/ 152 w 177"/>
                <a:gd name="T29" fmla="*/ 25 h 200"/>
                <a:gd name="T30" fmla="*/ 130 w 177"/>
                <a:gd name="T31" fmla="*/ 6 h 200"/>
                <a:gd name="T32" fmla="*/ 89 w 177"/>
                <a:gd name="T33" fmla="*/ 0 h 200"/>
                <a:gd name="T34" fmla="*/ 0 w 177"/>
                <a:gd name="T35" fmla="*/ 0 h 200"/>
                <a:gd name="T36" fmla="*/ 0 w 177"/>
                <a:gd name="T37" fmla="*/ 200 h 200"/>
                <a:gd name="T38" fmla="*/ 27 w 177"/>
                <a:gd name="T39" fmla="*/ 200 h 200"/>
                <a:gd name="T40" fmla="*/ 27 w 177"/>
                <a:gd name="T41" fmla="*/ 22 h 200"/>
                <a:gd name="T42" fmla="*/ 90 w 177"/>
                <a:gd name="T43" fmla="*/ 22 h 200"/>
                <a:gd name="T44" fmla="*/ 123 w 177"/>
                <a:gd name="T45" fmla="*/ 31 h 200"/>
                <a:gd name="T46" fmla="*/ 133 w 177"/>
                <a:gd name="T47" fmla="*/ 55 h 200"/>
                <a:gd name="T48" fmla="*/ 128 w 177"/>
                <a:gd name="T49" fmla="*/ 73 h 200"/>
                <a:gd name="T50" fmla="*/ 112 w 177"/>
                <a:gd name="T51" fmla="*/ 85 h 200"/>
                <a:gd name="T52" fmla="*/ 84 w 177"/>
                <a:gd name="T53" fmla="*/ 89 h 200"/>
                <a:gd name="T54" fmla="*/ 27 w 177"/>
                <a:gd name="T55" fmla="*/ 89 h 200"/>
                <a:gd name="T56" fmla="*/ 27 w 177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" h="200">
                  <a:moveTo>
                    <a:pt x="27" y="200"/>
                  </a:moveTo>
                  <a:cubicBezTo>
                    <a:pt x="27" y="111"/>
                    <a:pt x="27" y="111"/>
                    <a:pt x="27" y="111"/>
                  </a:cubicBezTo>
                  <a:cubicBezTo>
                    <a:pt x="58" y="111"/>
                    <a:pt x="58" y="111"/>
                    <a:pt x="58" y="111"/>
                  </a:cubicBezTo>
                  <a:cubicBezTo>
                    <a:pt x="64" y="111"/>
                    <a:pt x="69" y="112"/>
                    <a:pt x="72" y="112"/>
                  </a:cubicBezTo>
                  <a:cubicBezTo>
                    <a:pt x="76" y="113"/>
                    <a:pt x="80" y="115"/>
                    <a:pt x="84" y="118"/>
                  </a:cubicBezTo>
                  <a:cubicBezTo>
                    <a:pt x="88" y="120"/>
                    <a:pt x="93" y="125"/>
                    <a:pt x="98" y="131"/>
                  </a:cubicBezTo>
                  <a:cubicBezTo>
                    <a:pt x="103" y="138"/>
                    <a:pt x="109" y="147"/>
                    <a:pt x="117" y="159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177" y="200"/>
                    <a:pt x="177" y="200"/>
                    <a:pt x="177" y="200"/>
                  </a:cubicBezTo>
                  <a:cubicBezTo>
                    <a:pt x="142" y="146"/>
                    <a:pt x="142" y="146"/>
                    <a:pt x="142" y="146"/>
                  </a:cubicBezTo>
                  <a:cubicBezTo>
                    <a:pt x="135" y="135"/>
                    <a:pt x="128" y="126"/>
                    <a:pt x="120" y="119"/>
                  </a:cubicBezTo>
                  <a:cubicBezTo>
                    <a:pt x="116" y="116"/>
                    <a:pt x="111" y="113"/>
                    <a:pt x="104" y="109"/>
                  </a:cubicBezTo>
                  <a:cubicBezTo>
                    <a:pt x="123" y="107"/>
                    <a:pt x="137" y="100"/>
                    <a:pt x="147" y="91"/>
                  </a:cubicBezTo>
                  <a:cubicBezTo>
                    <a:pt x="156" y="81"/>
                    <a:pt x="160" y="69"/>
                    <a:pt x="160" y="55"/>
                  </a:cubicBezTo>
                  <a:cubicBezTo>
                    <a:pt x="160" y="44"/>
                    <a:pt x="158" y="34"/>
                    <a:pt x="152" y="25"/>
                  </a:cubicBezTo>
                  <a:cubicBezTo>
                    <a:pt x="146" y="16"/>
                    <a:pt x="139" y="9"/>
                    <a:pt x="130" y="6"/>
                  </a:cubicBezTo>
                  <a:cubicBezTo>
                    <a:pt x="120" y="2"/>
                    <a:pt x="107" y="0"/>
                    <a:pt x="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7" y="200"/>
                  </a:lnTo>
                  <a:close/>
                  <a:moveTo>
                    <a:pt x="27" y="22"/>
                  </a:moveTo>
                  <a:cubicBezTo>
                    <a:pt x="90" y="22"/>
                    <a:pt x="90" y="22"/>
                    <a:pt x="90" y="22"/>
                  </a:cubicBezTo>
                  <a:cubicBezTo>
                    <a:pt x="105" y="22"/>
                    <a:pt x="116" y="25"/>
                    <a:pt x="123" y="31"/>
                  </a:cubicBezTo>
                  <a:cubicBezTo>
                    <a:pt x="130" y="38"/>
                    <a:pt x="133" y="45"/>
                    <a:pt x="133" y="55"/>
                  </a:cubicBezTo>
                  <a:cubicBezTo>
                    <a:pt x="133" y="61"/>
                    <a:pt x="131" y="67"/>
                    <a:pt x="128" y="73"/>
                  </a:cubicBezTo>
                  <a:cubicBezTo>
                    <a:pt x="124" y="78"/>
                    <a:pt x="119" y="82"/>
                    <a:pt x="112" y="85"/>
                  </a:cubicBezTo>
                  <a:cubicBezTo>
                    <a:pt x="105" y="87"/>
                    <a:pt x="96" y="89"/>
                    <a:pt x="84" y="89"/>
                  </a:cubicBezTo>
                  <a:cubicBezTo>
                    <a:pt x="27" y="89"/>
                    <a:pt x="27" y="89"/>
                    <a:pt x="27" y="89"/>
                  </a:cubicBezTo>
                  <a:lnTo>
                    <a:pt x="27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5"/>
            <p:cNvSpPr>
              <a:spLocks noEditPoints="1"/>
            </p:cNvSpPr>
            <p:nvPr userDrawn="1"/>
          </p:nvSpPr>
          <p:spPr bwMode="black">
            <a:xfrm>
              <a:off x="4542" y="3785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4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6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1 w 187"/>
                <a:gd name="T21" fmla="*/ 21 h 200"/>
                <a:gd name="T22" fmla="*/ 105 w 187"/>
                <a:gd name="T23" fmla="*/ 63 h 200"/>
                <a:gd name="T24" fmla="*/ 126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4" y="47"/>
                    <a:pt x="88" y="34"/>
                    <a:pt x="91" y="21"/>
                  </a:cubicBezTo>
                  <a:cubicBezTo>
                    <a:pt x="94" y="32"/>
                    <a:pt x="98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6"/>
            <p:cNvSpPr>
              <a:spLocks/>
            </p:cNvSpPr>
            <p:nvPr userDrawn="1"/>
          </p:nvSpPr>
          <p:spPr bwMode="black">
            <a:xfrm>
              <a:off x="5010" y="3777"/>
              <a:ext cx="419" cy="490"/>
            </a:xfrm>
            <a:custGeom>
              <a:avLst/>
              <a:gdLst>
                <a:gd name="T0" fmla="*/ 130 w 177"/>
                <a:gd name="T1" fmla="*/ 171 h 207"/>
                <a:gd name="T2" fmla="*/ 92 w 177"/>
                <a:gd name="T3" fmla="*/ 184 h 207"/>
                <a:gd name="T4" fmla="*/ 58 w 177"/>
                <a:gd name="T5" fmla="*/ 175 h 207"/>
                <a:gd name="T6" fmla="*/ 35 w 177"/>
                <a:gd name="T7" fmla="*/ 146 h 207"/>
                <a:gd name="T8" fmla="*/ 27 w 177"/>
                <a:gd name="T9" fmla="*/ 102 h 207"/>
                <a:gd name="T10" fmla="*/ 34 w 177"/>
                <a:gd name="T11" fmla="*/ 63 h 207"/>
                <a:gd name="T12" fmla="*/ 56 w 177"/>
                <a:gd name="T13" fmla="*/ 34 h 207"/>
                <a:gd name="T14" fmla="*/ 94 w 177"/>
                <a:gd name="T15" fmla="*/ 22 h 207"/>
                <a:gd name="T16" fmla="*/ 127 w 177"/>
                <a:gd name="T17" fmla="*/ 32 h 207"/>
                <a:gd name="T18" fmla="*/ 148 w 177"/>
                <a:gd name="T19" fmla="*/ 64 h 207"/>
                <a:gd name="T20" fmla="*/ 174 w 177"/>
                <a:gd name="T21" fmla="*/ 58 h 207"/>
                <a:gd name="T22" fmla="*/ 145 w 177"/>
                <a:gd name="T23" fmla="*/ 15 h 207"/>
                <a:gd name="T24" fmla="*/ 95 w 177"/>
                <a:gd name="T25" fmla="*/ 0 h 207"/>
                <a:gd name="T26" fmla="*/ 46 w 177"/>
                <a:gd name="T27" fmla="*/ 12 h 207"/>
                <a:gd name="T28" fmla="*/ 12 w 177"/>
                <a:gd name="T29" fmla="*/ 47 h 207"/>
                <a:gd name="T30" fmla="*/ 0 w 177"/>
                <a:gd name="T31" fmla="*/ 102 h 207"/>
                <a:gd name="T32" fmla="*/ 11 w 177"/>
                <a:gd name="T33" fmla="*/ 155 h 207"/>
                <a:gd name="T34" fmla="*/ 42 w 177"/>
                <a:gd name="T35" fmla="*/ 194 h 207"/>
                <a:gd name="T36" fmla="*/ 94 w 177"/>
                <a:gd name="T37" fmla="*/ 207 h 207"/>
                <a:gd name="T38" fmla="*/ 147 w 177"/>
                <a:gd name="T39" fmla="*/ 190 h 207"/>
                <a:gd name="T40" fmla="*/ 177 w 177"/>
                <a:gd name="T41" fmla="*/ 140 h 207"/>
                <a:gd name="T42" fmla="*/ 151 w 177"/>
                <a:gd name="T43" fmla="*/ 133 h 207"/>
                <a:gd name="T44" fmla="*/ 130 w 177"/>
                <a:gd name="T45" fmla="*/ 171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7" h="207">
                  <a:moveTo>
                    <a:pt x="130" y="171"/>
                  </a:moveTo>
                  <a:cubicBezTo>
                    <a:pt x="119" y="180"/>
                    <a:pt x="107" y="184"/>
                    <a:pt x="92" y="184"/>
                  </a:cubicBezTo>
                  <a:cubicBezTo>
                    <a:pt x="80" y="184"/>
                    <a:pt x="69" y="181"/>
                    <a:pt x="58" y="175"/>
                  </a:cubicBezTo>
                  <a:cubicBezTo>
                    <a:pt x="48" y="168"/>
                    <a:pt x="40" y="159"/>
                    <a:pt x="35" y="146"/>
                  </a:cubicBezTo>
                  <a:cubicBezTo>
                    <a:pt x="30" y="134"/>
                    <a:pt x="27" y="119"/>
                    <a:pt x="27" y="102"/>
                  </a:cubicBezTo>
                  <a:cubicBezTo>
                    <a:pt x="27" y="88"/>
                    <a:pt x="30" y="76"/>
                    <a:pt x="34" y="63"/>
                  </a:cubicBezTo>
                  <a:cubicBezTo>
                    <a:pt x="38" y="51"/>
                    <a:pt x="45" y="41"/>
                    <a:pt x="56" y="34"/>
                  </a:cubicBezTo>
                  <a:cubicBezTo>
                    <a:pt x="66" y="26"/>
                    <a:pt x="79" y="22"/>
                    <a:pt x="94" y="22"/>
                  </a:cubicBezTo>
                  <a:cubicBezTo>
                    <a:pt x="108" y="22"/>
                    <a:pt x="119" y="26"/>
                    <a:pt x="127" y="32"/>
                  </a:cubicBezTo>
                  <a:cubicBezTo>
                    <a:pt x="136" y="39"/>
                    <a:pt x="143" y="50"/>
                    <a:pt x="148" y="64"/>
                  </a:cubicBezTo>
                  <a:cubicBezTo>
                    <a:pt x="174" y="58"/>
                    <a:pt x="174" y="58"/>
                    <a:pt x="174" y="58"/>
                  </a:cubicBezTo>
                  <a:cubicBezTo>
                    <a:pt x="168" y="40"/>
                    <a:pt x="159" y="25"/>
                    <a:pt x="145" y="15"/>
                  </a:cubicBezTo>
                  <a:cubicBezTo>
                    <a:pt x="132" y="5"/>
                    <a:pt x="115" y="0"/>
                    <a:pt x="95" y="0"/>
                  </a:cubicBezTo>
                  <a:cubicBezTo>
                    <a:pt x="77" y="0"/>
                    <a:pt x="61" y="4"/>
                    <a:pt x="46" y="12"/>
                  </a:cubicBezTo>
                  <a:cubicBezTo>
                    <a:pt x="31" y="20"/>
                    <a:pt x="20" y="32"/>
                    <a:pt x="12" y="47"/>
                  </a:cubicBezTo>
                  <a:cubicBezTo>
                    <a:pt x="4" y="63"/>
                    <a:pt x="0" y="81"/>
                    <a:pt x="0" y="102"/>
                  </a:cubicBezTo>
                  <a:cubicBezTo>
                    <a:pt x="0" y="121"/>
                    <a:pt x="4" y="139"/>
                    <a:pt x="11" y="155"/>
                  </a:cubicBezTo>
                  <a:cubicBezTo>
                    <a:pt x="18" y="172"/>
                    <a:pt x="28" y="185"/>
                    <a:pt x="42" y="194"/>
                  </a:cubicBezTo>
                  <a:cubicBezTo>
                    <a:pt x="55" y="202"/>
                    <a:pt x="73" y="207"/>
                    <a:pt x="94" y="207"/>
                  </a:cubicBezTo>
                  <a:cubicBezTo>
                    <a:pt x="115" y="207"/>
                    <a:pt x="133" y="201"/>
                    <a:pt x="147" y="190"/>
                  </a:cubicBezTo>
                  <a:cubicBezTo>
                    <a:pt x="162" y="178"/>
                    <a:pt x="172" y="162"/>
                    <a:pt x="177" y="140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7" y="150"/>
                    <a:pt x="140" y="163"/>
                    <a:pt x="130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Rectangle 27"/>
            <p:cNvSpPr>
              <a:spLocks noChangeArrowheads="1"/>
            </p:cNvSpPr>
            <p:nvPr userDrawn="1"/>
          </p:nvSpPr>
          <p:spPr bwMode="black">
            <a:xfrm>
              <a:off x="5509" y="3785"/>
              <a:ext cx="64" cy="4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8"/>
            <p:cNvSpPr>
              <a:spLocks noEditPoints="1"/>
            </p:cNvSpPr>
            <p:nvPr userDrawn="1"/>
          </p:nvSpPr>
          <p:spPr bwMode="black">
            <a:xfrm>
              <a:off x="5625" y="3785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4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0 w 187"/>
                <a:gd name="T21" fmla="*/ 21 h 200"/>
                <a:gd name="T22" fmla="*/ 105 w 187"/>
                <a:gd name="T23" fmla="*/ 63 h 200"/>
                <a:gd name="T24" fmla="*/ 126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4" y="47"/>
                    <a:pt x="88" y="34"/>
                    <a:pt x="90" y="21"/>
                  </a:cubicBezTo>
                  <a:cubicBezTo>
                    <a:pt x="94" y="32"/>
                    <a:pt x="98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9"/>
            <p:cNvSpPr>
              <a:spLocks/>
            </p:cNvSpPr>
            <p:nvPr userDrawn="1"/>
          </p:nvSpPr>
          <p:spPr bwMode="black">
            <a:xfrm>
              <a:off x="6090" y="3777"/>
              <a:ext cx="376" cy="490"/>
            </a:xfrm>
            <a:custGeom>
              <a:avLst/>
              <a:gdLst>
                <a:gd name="T0" fmla="*/ 11 w 159"/>
                <a:gd name="T1" fmla="*/ 175 h 207"/>
                <a:gd name="T2" fmla="*/ 39 w 159"/>
                <a:gd name="T3" fmla="*/ 199 h 207"/>
                <a:gd name="T4" fmla="*/ 85 w 159"/>
                <a:gd name="T5" fmla="*/ 207 h 207"/>
                <a:gd name="T6" fmla="*/ 124 w 159"/>
                <a:gd name="T7" fmla="*/ 199 h 207"/>
                <a:gd name="T8" fmla="*/ 150 w 159"/>
                <a:gd name="T9" fmla="*/ 177 h 207"/>
                <a:gd name="T10" fmla="*/ 159 w 159"/>
                <a:gd name="T11" fmla="*/ 147 h 207"/>
                <a:gd name="T12" fmla="*/ 151 w 159"/>
                <a:gd name="T13" fmla="*/ 118 h 207"/>
                <a:gd name="T14" fmla="*/ 125 w 159"/>
                <a:gd name="T15" fmla="*/ 98 h 207"/>
                <a:gd name="T16" fmla="*/ 81 w 159"/>
                <a:gd name="T17" fmla="*/ 85 h 207"/>
                <a:gd name="T18" fmla="*/ 41 w 159"/>
                <a:gd name="T19" fmla="*/ 71 h 207"/>
                <a:gd name="T20" fmla="*/ 33 w 159"/>
                <a:gd name="T21" fmla="*/ 53 h 207"/>
                <a:gd name="T22" fmla="*/ 44 w 159"/>
                <a:gd name="T23" fmla="*/ 32 h 207"/>
                <a:gd name="T24" fmla="*/ 79 w 159"/>
                <a:gd name="T25" fmla="*/ 23 h 207"/>
                <a:gd name="T26" fmla="*/ 114 w 159"/>
                <a:gd name="T27" fmla="*/ 33 h 207"/>
                <a:gd name="T28" fmla="*/ 128 w 159"/>
                <a:gd name="T29" fmla="*/ 62 h 207"/>
                <a:gd name="T30" fmla="*/ 153 w 159"/>
                <a:gd name="T31" fmla="*/ 60 h 207"/>
                <a:gd name="T32" fmla="*/ 143 w 159"/>
                <a:gd name="T33" fmla="*/ 28 h 207"/>
                <a:gd name="T34" fmla="*/ 117 w 159"/>
                <a:gd name="T35" fmla="*/ 7 h 207"/>
                <a:gd name="T36" fmla="*/ 78 w 159"/>
                <a:gd name="T37" fmla="*/ 0 h 207"/>
                <a:gd name="T38" fmla="*/ 41 w 159"/>
                <a:gd name="T39" fmla="*/ 7 h 207"/>
                <a:gd name="T40" fmla="*/ 16 w 159"/>
                <a:gd name="T41" fmla="*/ 27 h 207"/>
                <a:gd name="T42" fmla="*/ 7 w 159"/>
                <a:gd name="T43" fmla="*/ 55 h 207"/>
                <a:gd name="T44" fmla="*/ 14 w 159"/>
                <a:gd name="T45" fmla="*/ 80 h 207"/>
                <a:gd name="T46" fmla="*/ 36 w 159"/>
                <a:gd name="T47" fmla="*/ 99 h 207"/>
                <a:gd name="T48" fmla="*/ 74 w 159"/>
                <a:gd name="T49" fmla="*/ 111 h 207"/>
                <a:gd name="T50" fmla="*/ 110 w 159"/>
                <a:gd name="T51" fmla="*/ 121 h 207"/>
                <a:gd name="T52" fmla="*/ 128 w 159"/>
                <a:gd name="T53" fmla="*/ 133 h 207"/>
                <a:gd name="T54" fmla="*/ 133 w 159"/>
                <a:gd name="T55" fmla="*/ 149 h 207"/>
                <a:gd name="T56" fmla="*/ 128 w 159"/>
                <a:gd name="T57" fmla="*/ 166 h 207"/>
                <a:gd name="T58" fmla="*/ 111 w 159"/>
                <a:gd name="T59" fmla="*/ 179 h 207"/>
                <a:gd name="T60" fmla="*/ 84 w 159"/>
                <a:gd name="T61" fmla="*/ 183 h 207"/>
                <a:gd name="T62" fmla="*/ 53 w 159"/>
                <a:gd name="T63" fmla="*/ 177 h 207"/>
                <a:gd name="T64" fmla="*/ 33 w 159"/>
                <a:gd name="T65" fmla="*/ 162 h 207"/>
                <a:gd name="T66" fmla="*/ 25 w 159"/>
                <a:gd name="T67" fmla="*/ 137 h 207"/>
                <a:gd name="T68" fmla="*/ 0 w 159"/>
                <a:gd name="T69" fmla="*/ 139 h 207"/>
                <a:gd name="T70" fmla="*/ 11 w 159"/>
                <a:gd name="T71" fmla="*/ 17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9" h="207">
                  <a:moveTo>
                    <a:pt x="11" y="175"/>
                  </a:moveTo>
                  <a:cubicBezTo>
                    <a:pt x="18" y="186"/>
                    <a:pt x="27" y="194"/>
                    <a:pt x="39" y="199"/>
                  </a:cubicBezTo>
                  <a:cubicBezTo>
                    <a:pt x="52" y="204"/>
                    <a:pt x="67" y="207"/>
                    <a:pt x="85" y="207"/>
                  </a:cubicBezTo>
                  <a:cubicBezTo>
                    <a:pt x="99" y="207"/>
                    <a:pt x="112" y="204"/>
                    <a:pt x="124" y="199"/>
                  </a:cubicBezTo>
                  <a:cubicBezTo>
                    <a:pt x="135" y="194"/>
                    <a:pt x="144" y="186"/>
                    <a:pt x="150" y="177"/>
                  </a:cubicBezTo>
                  <a:cubicBezTo>
                    <a:pt x="156" y="168"/>
                    <a:pt x="159" y="158"/>
                    <a:pt x="159" y="147"/>
                  </a:cubicBezTo>
                  <a:cubicBezTo>
                    <a:pt x="159" y="136"/>
                    <a:pt x="156" y="127"/>
                    <a:pt x="151" y="118"/>
                  </a:cubicBezTo>
                  <a:cubicBezTo>
                    <a:pt x="145" y="110"/>
                    <a:pt x="136" y="103"/>
                    <a:pt x="125" y="98"/>
                  </a:cubicBezTo>
                  <a:cubicBezTo>
                    <a:pt x="117" y="94"/>
                    <a:pt x="102" y="90"/>
                    <a:pt x="81" y="85"/>
                  </a:cubicBezTo>
                  <a:cubicBezTo>
                    <a:pt x="59" y="80"/>
                    <a:pt x="46" y="76"/>
                    <a:pt x="41" y="71"/>
                  </a:cubicBezTo>
                  <a:cubicBezTo>
                    <a:pt x="35" y="66"/>
                    <a:pt x="33" y="60"/>
                    <a:pt x="33" y="53"/>
                  </a:cubicBezTo>
                  <a:cubicBezTo>
                    <a:pt x="33" y="45"/>
                    <a:pt x="36" y="38"/>
                    <a:pt x="44" y="32"/>
                  </a:cubicBezTo>
                  <a:cubicBezTo>
                    <a:pt x="51" y="26"/>
                    <a:pt x="63" y="23"/>
                    <a:pt x="79" y="23"/>
                  </a:cubicBezTo>
                  <a:cubicBezTo>
                    <a:pt x="94" y="23"/>
                    <a:pt x="106" y="26"/>
                    <a:pt x="114" y="33"/>
                  </a:cubicBezTo>
                  <a:cubicBezTo>
                    <a:pt x="122" y="39"/>
                    <a:pt x="126" y="49"/>
                    <a:pt x="128" y="62"/>
                  </a:cubicBezTo>
                  <a:cubicBezTo>
                    <a:pt x="153" y="60"/>
                    <a:pt x="153" y="60"/>
                    <a:pt x="153" y="60"/>
                  </a:cubicBezTo>
                  <a:cubicBezTo>
                    <a:pt x="153" y="48"/>
                    <a:pt x="149" y="37"/>
                    <a:pt x="143" y="28"/>
                  </a:cubicBezTo>
                  <a:cubicBezTo>
                    <a:pt x="137" y="19"/>
                    <a:pt x="128" y="12"/>
                    <a:pt x="117" y="7"/>
                  </a:cubicBezTo>
                  <a:cubicBezTo>
                    <a:pt x="106" y="2"/>
                    <a:pt x="93" y="0"/>
                    <a:pt x="78" y="0"/>
                  </a:cubicBezTo>
                  <a:cubicBezTo>
                    <a:pt x="64" y="0"/>
                    <a:pt x="52" y="2"/>
                    <a:pt x="41" y="7"/>
                  </a:cubicBezTo>
                  <a:cubicBezTo>
                    <a:pt x="30" y="11"/>
                    <a:pt x="22" y="18"/>
                    <a:pt x="16" y="27"/>
                  </a:cubicBezTo>
                  <a:cubicBezTo>
                    <a:pt x="10" y="35"/>
                    <a:pt x="7" y="45"/>
                    <a:pt x="7" y="55"/>
                  </a:cubicBezTo>
                  <a:cubicBezTo>
                    <a:pt x="7" y="64"/>
                    <a:pt x="10" y="72"/>
                    <a:pt x="14" y="80"/>
                  </a:cubicBezTo>
                  <a:cubicBezTo>
                    <a:pt x="19" y="87"/>
                    <a:pt x="26" y="94"/>
                    <a:pt x="36" y="99"/>
                  </a:cubicBezTo>
                  <a:cubicBezTo>
                    <a:pt x="43" y="102"/>
                    <a:pt x="56" y="107"/>
                    <a:pt x="74" y="111"/>
                  </a:cubicBezTo>
                  <a:cubicBezTo>
                    <a:pt x="93" y="115"/>
                    <a:pt x="105" y="119"/>
                    <a:pt x="110" y="121"/>
                  </a:cubicBezTo>
                  <a:cubicBezTo>
                    <a:pt x="118" y="124"/>
                    <a:pt x="124" y="128"/>
                    <a:pt x="128" y="133"/>
                  </a:cubicBezTo>
                  <a:cubicBezTo>
                    <a:pt x="132" y="137"/>
                    <a:pt x="133" y="143"/>
                    <a:pt x="133" y="149"/>
                  </a:cubicBezTo>
                  <a:cubicBezTo>
                    <a:pt x="133" y="155"/>
                    <a:pt x="132" y="161"/>
                    <a:pt x="128" y="166"/>
                  </a:cubicBezTo>
                  <a:cubicBezTo>
                    <a:pt x="124" y="171"/>
                    <a:pt x="118" y="176"/>
                    <a:pt x="111" y="179"/>
                  </a:cubicBezTo>
                  <a:cubicBezTo>
                    <a:pt x="103" y="182"/>
                    <a:pt x="94" y="183"/>
                    <a:pt x="84" y="183"/>
                  </a:cubicBezTo>
                  <a:cubicBezTo>
                    <a:pt x="72" y="183"/>
                    <a:pt x="62" y="181"/>
                    <a:pt x="53" y="177"/>
                  </a:cubicBezTo>
                  <a:cubicBezTo>
                    <a:pt x="44" y="173"/>
                    <a:pt x="37" y="168"/>
                    <a:pt x="33" y="162"/>
                  </a:cubicBezTo>
                  <a:cubicBezTo>
                    <a:pt x="29" y="155"/>
                    <a:pt x="26" y="147"/>
                    <a:pt x="25" y="137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52"/>
                    <a:pt x="4" y="164"/>
                    <a:pt x="11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30"/>
            <p:cNvSpPr>
              <a:spLocks/>
            </p:cNvSpPr>
            <p:nvPr userDrawn="1"/>
          </p:nvSpPr>
          <p:spPr bwMode="black">
            <a:xfrm>
              <a:off x="2098" y="1896"/>
              <a:ext cx="418" cy="490"/>
            </a:xfrm>
            <a:custGeom>
              <a:avLst/>
              <a:gdLst>
                <a:gd name="T0" fmla="*/ 130 w 177"/>
                <a:gd name="T1" fmla="*/ 171 h 207"/>
                <a:gd name="T2" fmla="*/ 92 w 177"/>
                <a:gd name="T3" fmla="*/ 184 h 207"/>
                <a:gd name="T4" fmla="*/ 58 w 177"/>
                <a:gd name="T5" fmla="*/ 175 h 207"/>
                <a:gd name="T6" fmla="*/ 35 w 177"/>
                <a:gd name="T7" fmla="*/ 146 h 207"/>
                <a:gd name="T8" fmla="*/ 27 w 177"/>
                <a:gd name="T9" fmla="*/ 102 h 207"/>
                <a:gd name="T10" fmla="*/ 34 w 177"/>
                <a:gd name="T11" fmla="*/ 63 h 207"/>
                <a:gd name="T12" fmla="*/ 55 w 177"/>
                <a:gd name="T13" fmla="*/ 33 h 207"/>
                <a:gd name="T14" fmla="*/ 94 w 177"/>
                <a:gd name="T15" fmla="*/ 22 h 207"/>
                <a:gd name="T16" fmla="*/ 127 w 177"/>
                <a:gd name="T17" fmla="*/ 32 h 207"/>
                <a:gd name="T18" fmla="*/ 147 w 177"/>
                <a:gd name="T19" fmla="*/ 64 h 207"/>
                <a:gd name="T20" fmla="*/ 174 w 177"/>
                <a:gd name="T21" fmla="*/ 58 h 207"/>
                <a:gd name="T22" fmla="*/ 145 w 177"/>
                <a:gd name="T23" fmla="*/ 15 h 207"/>
                <a:gd name="T24" fmla="*/ 95 w 177"/>
                <a:gd name="T25" fmla="*/ 0 h 207"/>
                <a:gd name="T26" fmla="*/ 46 w 177"/>
                <a:gd name="T27" fmla="*/ 12 h 207"/>
                <a:gd name="T28" fmla="*/ 12 w 177"/>
                <a:gd name="T29" fmla="*/ 47 h 207"/>
                <a:gd name="T30" fmla="*/ 0 w 177"/>
                <a:gd name="T31" fmla="*/ 102 h 207"/>
                <a:gd name="T32" fmla="*/ 11 w 177"/>
                <a:gd name="T33" fmla="*/ 155 h 207"/>
                <a:gd name="T34" fmla="*/ 41 w 177"/>
                <a:gd name="T35" fmla="*/ 194 h 207"/>
                <a:gd name="T36" fmla="*/ 94 w 177"/>
                <a:gd name="T37" fmla="*/ 207 h 207"/>
                <a:gd name="T38" fmla="*/ 147 w 177"/>
                <a:gd name="T39" fmla="*/ 190 h 207"/>
                <a:gd name="T40" fmla="*/ 177 w 177"/>
                <a:gd name="T41" fmla="*/ 140 h 207"/>
                <a:gd name="T42" fmla="*/ 151 w 177"/>
                <a:gd name="T43" fmla="*/ 133 h 207"/>
                <a:gd name="T44" fmla="*/ 130 w 177"/>
                <a:gd name="T45" fmla="*/ 171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7" h="207">
                  <a:moveTo>
                    <a:pt x="130" y="171"/>
                  </a:moveTo>
                  <a:cubicBezTo>
                    <a:pt x="119" y="180"/>
                    <a:pt x="107" y="184"/>
                    <a:pt x="92" y="184"/>
                  </a:cubicBezTo>
                  <a:cubicBezTo>
                    <a:pt x="80" y="184"/>
                    <a:pt x="68" y="181"/>
                    <a:pt x="58" y="175"/>
                  </a:cubicBezTo>
                  <a:cubicBezTo>
                    <a:pt x="47" y="168"/>
                    <a:pt x="40" y="159"/>
                    <a:pt x="35" y="146"/>
                  </a:cubicBezTo>
                  <a:cubicBezTo>
                    <a:pt x="30" y="133"/>
                    <a:pt x="27" y="119"/>
                    <a:pt x="27" y="102"/>
                  </a:cubicBezTo>
                  <a:cubicBezTo>
                    <a:pt x="27" y="88"/>
                    <a:pt x="29" y="76"/>
                    <a:pt x="34" y="63"/>
                  </a:cubicBezTo>
                  <a:cubicBezTo>
                    <a:pt x="38" y="51"/>
                    <a:pt x="45" y="41"/>
                    <a:pt x="55" y="33"/>
                  </a:cubicBezTo>
                  <a:cubicBezTo>
                    <a:pt x="66" y="26"/>
                    <a:pt x="79" y="22"/>
                    <a:pt x="94" y="22"/>
                  </a:cubicBezTo>
                  <a:cubicBezTo>
                    <a:pt x="107" y="22"/>
                    <a:pt x="118" y="26"/>
                    <a:pt x="127" y="32"/>
                  </a:cubicBezTo>
                  <a:cubicBezTo>
                    <a:pt x="136" y="39"/>
                    <a:pt x="143" y="50"/>
                    <a:pt x="147" y="64"/>
                  </a:cubicBezTo>
                  <a:cubicBezTo>
                    <a:pt x="174" y="58"/>
                    <a:pt x="174" y="58"/>
                    <a:pt x="174" y="58"/>
                  </a:cubicBezTo>
                  <a:cubicBezTo>
                    <a:pt x="168" y="39"/>
                    <a:pt x="159" y="25"/>
                    <a:pt x="145" y="15"/>
                  </a:cubicBezTo>
                  <a:cubicBezTo>
                    <a:pt x="131" y="5"/>
                    <a:pt x="115" y="0"/>
                    <a:pt x="95" y="0"/>
                  </a:cubicBezTo>
                  <a:cubicBezTo>
                    <a:pt x="77" y="0"/>
                    <a:pt x="61" y="4"/>
                    <a:pt x="46" y="12"/>
                  </a:cubicBezTo>
                  <a:cubicBezTo>
                    <a:pt x="31" y="20"/>
                    <a:pt x="20" y="32"/>
                    <a:pt x="12" y="47"/>
                  </a:cubicBezTo>
                  <a:cubicBezTo>
                    <a:pt x="4" y="63"/>
                    <a:pt x="0" y="81"/>
                    <a:pt x="0" y="102"/>
                  </a:cubicBezTo>
                  <a:cubicBezTo>
                    <a:pt x="0" y="121"/>
                    <a:pt x="4" y="139"/>
                    <a:pt x="11" y="155"/>
                  </a:cubicBezTo>
                  <a:cubicBezTo>
                    <a:pt x="18" y="172"/>
                    <a:pt x="28" y="185"/>
                    <a:pt x="41" y="194"/>
                  </a:cubicBezTo>
                  <a:cubicBezTo>
                    <a:pt x="55" y="202"/>
                    <a:pt x="73" y="207"/>
                    <a:pt x="94" y="207"/>
                  </a:cubicBezTo>
                  <a:cubicBezTo>
                    <a:pt x="115" y="207"/>
                    <a:pt x="133" y="201"/>
                    <a:pt x="147" y="190"/>
                  </a:cubicBezTo>
                  <a:cubicBezTo>
                    <a:pt x="161" y="178"/>
                    <a:pt x="171" y="162"/>
                    <a:pt x="177" y="140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7" y="150"/>
                    <a:pt x="140" y="163"/>
                    <a:pt x="130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1"/>
            <p:cNvSpPr>
              <a:spLocks/>
            </p:cNvSpPr>
            <p:nvPr userDrawn="1"/>
          </p:nvSpPr>
          <p:spPr bwMode="black">
            <a:xfrm>
              <a:off x="2587" y="1903"/>
              <a:ext cx="374" cy="474"/>
            </a:xfrm>
            <a:custGeom>
              <a:avLst/>
              <a:gdLst>
                <a:gd name="T0" fmla="*/ 0 w 374"/>
                <a:gd name="T1" fmla="*/ 474 h 474"/>
                <a:gd name="T2" fmla="*/ 64 w 374"/>
                <a:gd name="T3" fmla="*/ 474 h 474"/>
                <a:gd name="T4" fmla="*/ 64 w 374"/>
                <a:gd name="T5" fmla="*/ 57 h 474"/>
                <a:gd name="T6" fmla="*/ 310 w 374"/>
                <a:gd name="T7" fmla="*/ 57 h 474"/>
                <a:gd name="T8" fmla="*/ 310 w 374"/>
                <a:gd name="T9" fmla="*/ 474 h 474"/>
                <a:gd name="T10" fmla="*/ 374 w 374"/>
                <a:gd name="T11" fmla="*/ 474 h 474"/>
                <a:gd name="T12" fmla="*/ 374 w 374"/>
                <a:gd name="T13" fmla="*/ 0 h 474"/>
                <a:gd name="T14" fmla="*/ 0 w 374"/>
                <a:gd name="T15" fmla="*/ 0 h 474"/>
                <a:gd name="T16" fmla="*/ 0 w 374"/>
                <a:gd name="T17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4" h="474">
                  <a:moveTo>
                    <a:pt x="0" y="474"/>
                  </a:moveTo>
                  <a:lnTo>
                    <a:pt x="64" y="474"/>
                  </a:lnTo>
                  <a:lnTo>
                    <a:pt x="64" y="57"/>
                  </a:lnTo>
                  <a:lnTo>
                    <a:pt x="310" y="57"/>
                  </a:lnTo>
                  <a:lnTo>
                    <a:pt x="310" y="474"/>
                  </a:lnTo>
                  <a:lnTo>
                    <a:pt x="374" y="474"/>
                  </a:lnTo>
                  <a:lnTo>
                    <a:pt x="374" y="0"/>
                  </a:lnTo>
                  <a:lnTo>
                    <a:pt x="0" y="0"/>
                  </a:lnTo>
                  <a:lnTo>
                    <a:pt x="0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2"/>
            <p:cNvSpPr>
              <a:spLocks noEditPoints="1"/>
            </p:cNvSpPr>
            <p:nvPr userDrawn="1"/>
          </p:nvSpPr>
          <p:spPr bwMode="black">
            <a:xfrm>
              <a:off x="3003" y="1903"/>
              <a:ext cx="442" cy="474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4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1 w 187"/>
                <a:gd name="T21" fmla="*/ 21 h 200"/>
                <a:gd name="T22" fmla="*/ 105 w 187"/>
                <a:gd name="T23" fmla="*/ 63 h 200"/>
                <a:gd name="T24" fmla="*/ 126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4" y="47"/>
                    <a:pt x="88" y="34"/>
                    <a:pt x="91" y="21"/>
                  </a:cubicBezTo>
                  <a:cubicBezTo>
                    <a:pt x="94" y="32"/>
                    <a:pt x="98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3"/>
            <p:cNvSpPr>
              <a:spLocks/>
            </p:cNvSpPr>
            <p:nvPr userDrawn="1"/>
          </p:nvSpPr>
          <p:spPr bwMode="black">
            <a:xfrm>
              <a:off x="3457" y="1896"/>
              <a:ext cx="419" cy="490"/>
            </a:xfrm>
            <a:custGeom>
              <a:avLst/>
              <a:gdLst>
                <a:gd name="T0" fmla="*/ 130 w 177"/>
                <a:gd name="T1" fmla="*/ 171 h 207"/>
                <a:gd name="T2" fmla="*/ 92 w 177"/>
                <a:gd name="T3" fmla="*/ 184 h 207"/>
                <a:gd name="T4" fmla="*/ 58 w 177"/>
                <a:gd name="T5" fmla="*/ 175 h 207"/>
                <a:gd name="T6" fmla="*/ 35 w 177"/>
                <a:gd name="T7" fmla="*/ 146 h 207"/>
                <a:gd name="T8" fmla="*/ 27 w 177"/>
                <a:gd name="T9" fmla="*/ 102 h 207"/>
                <a:gd name="T10" fmla="*/ 34 w 177"/>
                <a:gd name="T11" fmla="*/ 63 h 207"/>
                <a:gd name="T12" fmla="*/ 55 w 177"/>
                <a:gd name="T13" fmla="*/ 33 h 207"/>
                <a:gd name="T14" fmla="*/ 94 w 177"/>
                <a:gd name="T15" fmla="*/ 22 h 207"/>
                <a:gd name="T16" fmla="*/ 127 w 177"/>
                <a:gd name="T17" fmla="*/ 32 h 207"/>
                <a:gd name="T18" fmla="*/ 147 w 177"/>
                <a:gd name="T19" fmla="*/ 64 h 207"/>
                <a:gd name="T20" fmla="*/ 174 w 177"/>
                <a:gd name="T21" fmla="*/ 58 h 207"/>
                <a:gd name="T22" fmla="*/ 145 w 177"/>
                <a:gd name="T23" fmla="*/ 15 h 207"/>
                <a:gd name="T24" fmla="*/ 94 w 177"/>
                <a:gd name="T25" fmla="*/ 0 h 207"/>
                <a:gd name="T26" fmla="*/ 46 w 177"/>
                <a:gd name="T27" fmla="*/ 12 h 207"/>
                <a:gd name="T28" fmla="*/ 12 w 177"/>
                <a:gd name="T29" fmla="*/ 47 h 207"/>
                <a:gd name="T30" fmla="*/ 0 w 177"/>
                <a:gd name="T31" fmla="*/ 102 h 207"/>
                <a:gd name="T32" fmla="*/ 11 w 177"/>
                <a:gd name="T33" fmla="*/ 155 h 207"/>
                <a:gd name="T34" fmla="*/ 41 w 177"/>
                <a:gd name="T35" fmla="*/ 194 h 207"/>
                <a:gd name="T36" fmla="*/ 94 w 177"/>
                <a:gd name="T37" fmla="*/ 207 h 207"/>
                <a:gd name="T38" fmla="*/ 147 w 177"/>
                <a:gd name="T39" fmla="*/ 190 h 207"/>
                <a:gd name="T40" fmla="*/ 177 w 177"/>
                <a:gd name="T41" fmla="*/ 140 h 207"/>
                <a:gd name="T42" fmla="*/ 150 w 177"/>
                <a:gd name="T43" fmla="*/ 133 h 207"/>
                <a:gd name="T44" fmla="*/ 130 w 177"/>
                <a:gd name="T45" fmla="*/ 171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7" h="207">
                  <a:moveTo>
                    <a:pt x="130" y="171"/>
                  </a:moveTo>
                  <a:cubicBezTo>
                    <a:pt x="119" y="180"/>
                    <a:pt x="107" y="184"/>
                    <a:pt x="92" y="184"/>
                  </a:cubicBezTo>
                  <a:cubicBezTo>
                    <a:pt x="80" y="184"/>
                    <a:pt x="68" y="181"/>
                    <a:pt x="58" y="175"/>
                  </a:cubicBezTo>
                  <a:cubicBezTo>
                    <a:pt x="47" y="168"/>
                    <a:pt x="40" y="159"/>
                    <a:pt x="35" y="146"/>
                  </a:cubicBezTo>
                  <a:cubicBezTo>
                    <a:pt x="30" y="133"/>
                    <a:pt x="27" y="119"/>
                    <a:pt x="27" y="102"/>
                  </a:cubicBezTo>
                  <a:cubicBezTo>
                    <a:pt x="27" y="88"/>
                    <a:pt x="29" y="76"/>
                    <a:pt x="34" y="63"/>
                  </a:cubicBezTo>
                  <a:cubicBezTo>
                    <a:pt x="38" y="51"/>
                    <a:pt x="45" y="41"/>
                    <a:pt x="55" y="33"/>
                  </a:cubicBezTo>
                  <a:cubicBezTo>
                    <a:pt x="66" y="26"/>
                    <a:pt x="79" y="22"/>
                    <a:pt x="94" y="22"/>
                  </a:cubicBezTo>
                  <a:cubicBezTo>
                    <a:pt x="107" y="22"/>
                    <a:pt x="118" y="26"/>
                    <a:pt x="127" y="32"/>
                  </a:cubicBezTo>
                  <a:cubicBezTo>
                    <a:pt x="136" y="39"/>
                    <a:pt x="143" y="50"/>
                    <a:pt x="147" y="64"/>
                  </a:cubicBezTo>
                  <a:cubicBezTo>
                    <a:pt x="174" y="58"/>
                    <a:pt x="174" y="58"/>
                    <a:pt x="174" y="58"/>
                  </a:cubicBezTo>
                  <a:cubicBezTo>
                    <a:pt x="168" y="39"/>
                    <a:pt x="159" y="25"/>
                    <a:pt x="145" y="15"/>
                  </a:cubicBezTo>
                  <a:cubicBezTo>
                    <a:pt x="131" y="5"/>
                    <a:pt x="115" y="0"/>
                    <a:pt x="94" y="0"/>
                  </a:cubicBezTo>
                  <a:cubicBezTo>
                    <a:pt x="77" y="0"/>
                    <a:pt x="61" y="4"/>
                    <a:pt x="46" y="12"/>
                  </a:cubicBezTo>
                  <a:cubicBezTo>
                    <a:pt x="31" y="20"/>
                    <a:pt x="20" y="32"/>
                    <a:pt x="12" y="47"/>
                  </a:cubicBezTo>
                  <a:cubicBezTo>
                    <a:pt x="4" y="63"/>
                    <a:pt x="0" y="81"/>
                    <a:pt x="0" y="102"/>
                  </a:cubicBezTo>
                  <a:cubicBezTo>
                    <a:pt x="0" y="121"/>
                    <a:pt x="4" y="139"/>
                    <a:pt x="11" y="155"/>
                  </a:cubicBezTo>
                  <a:cubicBezTo>
                    <a:pt x="18" y="172"/>
                    <a:pt x="28" y="185"/>
                    <a:pt x="41" y="194"/>
                  </a:cubicBezTo>
                  <a:cubicBezTo>
                    <a:pt x="55" y="202"/>
                    <a:pt x="73" y="207"/>
                    <a:pt x="94" y="207"/>
                  </a:cubicBezTo>
                  <a:cubicBezTo>
                    <a:pt x="115" y="207"/>
                    <a:pt x="133" y="201"/>
                    <a:pt x="147" y="190"/>
                  </a:cubicBezTo>
                  <a:cubicBezTo>
                    <a:pt x="161" y="178"/>
                    <a:pt x="171" y="162"/>
                    <a:pt x="177" y="140"/>
                  </a:cubicBezTo>
                  <a:cubicBezTo>
                    <a:pt x="150" y="133"/>
                    <a:pt x="150" y="133"/>
                    <a:pt x="150" y="133"/>
                  </a:cubicBezTo>
                  <a:cubicBezTo>
                    <a:pt x="147" y="150"/>
                    <a:pt x="140" y="163"/>
                    <a:pt x="130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4"/>
            <p:cNvSpPr>
              <a:spLocks/>
            </p:cNvSpPr>
            <p:nvPr userDrawn="1"/>
          </p:nvSpPr>
          <p:spPr bwMode="black">
            <a:xfrm>
              <a:off x="3946" y="1903"/>
              <a:ext cx="372" cy="474"/>
            </a:xfrm>
            <a:custGeom>
              <a:avLst/>
              <a:gdLst>
                <a:gd name="T0" fmla="*/ 0 w 372"/>
                <a:gd name="T1" fmla="*/ 474 h 474"/>
                <a:gd name="T2" fmla="*/ 64 w 372"/>
                <a:gd name="T3" fmla="*/ 474 h 474"/>
                <a:gd name="T4" fmla="*/ 315 w 372"/>
                <a:gd name="T5" fmla="*/ 100 h 474"/>
                <a:gd name="T6" fmla="*/ 315 w 372"/>
                <a:gd name="T7" fmla="*/ 474 h 474"/>
                <a:gd name="T8" fmla="*/ 372 w 372"/>
                <a:gd name="T9" fmla="*/ 474 h 474"/>
                <a:gd name="T10" fmla="*/ 372 w 372"/>
                <a:gd name="T11" fmla="*/ 0 h 474"/>
                <a:gd name="T12" fmla="*/ 310 w 372"/>
                <a:gd name="T13" fmla="*/ 0 h 474"/>
                <a:gd name="T14" fmla="*/ 57 w 372"/>
                <a:gd name="T15" fmla="*/ 376 h 474"/>
                <a:gd name="T16" fmla="*/ 57 w 372"/>
                <a:gd name="T17" fmla="*/ 0 h 474"/>
                <a:gd name="T18" fmla="*/ 0 w 372"/>
                <a:gd name="T19" fmla="*/ 0 h 474"/>
                <a:gd name="T20" fmla="*/ 0 w 372"/>
                <a:gd name="T21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2" h="474">
                  <a:moveTo>
                    <a:pt x="0" y="474"/>
                  </a:moveTo>
                  <a:lnTo>
                    <a:pt x="64" y="474"/>
                  </a:lnTo>
                  <a:lnTo>
                    <a:pt x="315" y="100"/>
                  </a:lnTo>
                  <a:lnTo>
                    <a:pt x="315" y="474"/>
                  </a:lnTo>
                  <a:lnTo>
                    <a:pt x="372" y="474"/>
                  </a:lnTo>
                  <a:lnTo>
                    <a:pt x="372" y="0"/>
                  </a:lnTo>
                  <a:lnTo>
                    <a:pt x="310" y="0"/>
                  </a:lnTo>
                  <a:lnTo>
                    <a:pt x="57" y="376"/>
                  </a:lnTo>
                  <a:lnTo>
                    <a:pt x="57" y="0"/>
                  </a:lnTo>
                  <a:lnTo>
                    <a:pt x="0" y="0"/>
                  </a:lnTo>
                  <a:lnTo>
                    <a:pt x="0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5"/>
            <p:cNvSpPr>
              <a:spLocks noEditPoints="1"/>
            </p:cNvSpPr>
            <p:nvPr userDrawn="1"/>
          </p:nvSpPr>
          <p:spPr bwMode="black">
            <a:xfrm>
              <a:off x="4417" y="1903"/>
              <a:ext cx="357" cy="474"/>
            </a:xfrm>
            <a:custGeom>
              <a:avLst/>
              <a:gdLst>
                <a:gd name="T0" fmla="*/ 0 w 151"/>
                <a:gd name="T1" fmla="*/ 200 h 200"/>
                <a:gd name="T2" fmla="*/ 79 w 151"/>
                <a:gd name="T3" fmla="*/ 200 h 200"/>
                <a:gd name="T4" fmla="*/ 124 w 151"/>
                <a:gd name="T5" fmla="*/ 192 h 200"/>
                <a:gd name="T6" fmla="*/ 144 w 151"/>
                <a:gd name="T7" fmla="*/ 170 h 200"/>
                <a:gd name="T8" fmla="*/ 151 w 151"/>
                <a:gd name="T9" fmla="*/ 142 h 200"/>
                <a:gd name="T10" fmla="*/ 142 w 151"/>
                <a:gd name="T11" fmla="*/ 110 h 200"/>
                <a:gd name="T12" fmla="*/ 117 w 151"/>
                <a:gd name="T13" fmla="*/ 90 h 200"/>
                <a:gd name="T14" fmla="*/ 75 w 151"/>
                <a:gd name="T15" fmla="*/ 85 h 200"/>
                <a:gd name="T16" fmla="*/ 27 w 151"/>
                <a:gd name="T17" fmla="*/ 85 h 200"/>
                <a:gd name="T18" fmla="*/ 27 w 151"/>
                <a:gd name="T19" fmla="*/ 24 h 200"/>
                <a:gd name="T20" fmla="*/ 130 w 151"/>
                <a:gd name="T21" fmla="*/ 24 h 200"/>
                <a:gd name="T22" fmla="*/ 130 w 151"/>
                <a:gd name="T23" fmla="*/ 0 h 200"/>
                <a:gd name="T24" fmla="*/ 0 w 151"/>
                <a:gd name="T25" fmla="*/ 0 h 200"/>
                <a:gd name="T26" fmla="*/ 0 w 151"/>
                <a:gd name="T27" fmla="*/ 200 h 200"/>
                <a:gd name="T28" fmla="*/ 27 w 151"/>
                <a:gd name="T29" fmla="*/ 108 h 200"/>
                <a:gd name="T30" fmla="*/ 62 w 151"/>
                <a:gd name="T31" fmla="*/ 108 h 200"/>
                <a:gd name="T32" fmla="*/ 99 w 151"/>
                <a:gd name="T33" fmla="*/ 111 h 200"/>
                <a:gd name="T34" fmla="*/ 116 w 151"/>
                <a:gd name="T35" fmla="*/ 122 h 200"/>
                <a:gd name="T36" fmla="*/ 123 w 151"/>
                <a:gd name="T37" fmla="*/ 143 h 200"/>
                <a:gd name="T38" fmla="*/ 112 w 151"/>
                <a:gd name="T39" fmla="*/ 169 h 200"/>
                <a:gd name="T40" fmla="*/ 80 w 151"/>
                <a:gd name="T41" fmla="*/ 178 h 200"/>
                <a:gd name="T42" fmla="*/ 27 w 151"/>
                <a:gd name="T43" fmla="*/ 178 h 200"/>
                <a:gd name="T44" fmla="*/ 27 w 151"/>
                <a:gd name="T45" fmla="*/ 10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1" h="200">
                  <a:moveTo>
                    <a:pt x="0" y="200"/>
                  </a:moveTo>
                  <a:cubicBezTo>
                    <a:pt x="79" y="200"/>
                    <a:pt x="79" y="200"/>
                    <a:pt x="79" y="200"/>
                  </a:cubicBezTo>
                  <a:cubicBezTo>
                    <a:pt x="100" y="200"/>
                    <a:pt x="115" y="197"/>
                    <a:pt x="124" y="192"/>
                  </a:cubicBezTo>
                  <a:cubicBezTo>
                    <a:pt x="133" y="186"/>
                    <a:pt x="140" y="179"/>
                    <a:pt x="144" y="170"/>
                  </a:cubicBezTo>
                  <a:cubicBezTo>
                    <a:pt x="149" y="162"/>
                    <a:pt x="151" y="152"/>
                    <a:pt x="151" y="142"/>
                  </a:cubicBezTo>
                  <a:cubicBezTo>
                    <a:pt x="151" y="130"/>
                    <a:pt x="148" y="119"/>
                    <a:pt x="142" y="110"/>
                  </a:cubicBezTo>
                  <a:cubicBezTo>
                    <a:pt x="135" y="100"/>
                    <a:pt x="127" y="94"/>
                    <a:pt x="117" y="90"/>
                  </a:cubicBezTo>
                  <a:cubicBezTo>
                    <a:pt x="106" y="87"/>
                    <a:pt x="92" y="85"/>
                    <a:pt x="75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130" y="24"/>
                    <a:pt x="130" y="24"/>
                    <a:pt x="130" y="24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00"/>
                  </a:lnTo>
                  <a:close/>
                  <a:moveTo>
                    <a:pt x="27" y="108"/>
                  </a:moveTo>
                  <a:cubicBezTo>
                    <a:pt x="62" y="108"/>
                    <a:pt x="62" y="108"/>
                    <a:pt x="62" y="108"/>
                  </a:cubicBezTo>
                  <a:cubicBezTo>
                    <a:pt x="80" y="108"/>
                    <a:pt x="92" y="109"/>
                    <a:pt x="99" y="111"/>
                  </a:cubicBezTo>
                  <a:cubicBezTo>
                    <a:pt x="107" y="113"/>
                    <a:pt x="112" y="116"/>
                    <a:pt x="116" y="122"/>
                  </a:cubicBezTo>
                  <a:cubicBezTo>
                    <a:pt x="121" y="128"/>
                    <a:pt x="123" y="134"/>
                    <a:pt x="123" y="143"/>
                  </a:cubicBezTo>
                  <a:cubicBezTo>
                    <a:pt x="123" y="154"/>
                    <a:pt x="119" y="163"/>
                    <a:pt x="112" y="169"/>
                  </a:cubicBezTo>
                  <a:cubicBezTo>
                    <a:pt x="105" y="175"/>
                    <a:pt x="94" y="178"/>
                    <a:pt x="80" y="178"/>
                  </a:cubicBezTo>
                  <a:cubicBezTo>
                    <a:pt x="27" y="178"/>
                    <a:pt x="27" y="178"/>
                    <a:pt x="27" y="178"/>
                  </a:cubicBezTo>
                  <a:lnTo>
                    <a:pt x="27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6"/>
            <p:cNvSpPr>
              <a:spLocks noEditPoints="1"/>
            </p:cNvSpPr>
            <p:nvPr userDrawn="1"/>
          </p:nvSpPr>
          <p:spPr bwMode="black">
            <a:xfrm>
              <a:off x="4816" y="1896"/>
              <a:ext cx="452" cy="490"/>
            </a:xfrm>
            <a:custGeom>
              <a:avLst/>
              <a:gdLst>
                <a:gd name="T0" fmla="*/ 11 w 191"/>
                <a:gd name="T1" fmla="*/ 156 h 207"/>
                <a:gd name="T2" fmla="*/ 45 w 191"/>
                <a:gd name="T3" fmla="*/ 193 h 207"/>
                <a:gd name="T4" fmla="*/ 95 w 191"/>
                <a:gd name="T5" fmla="*/ 207 h 207"/>
                <a:gd name="T6" fmla="*/ 144 w 191"/>
                <a:gd name="T7" fmla="*/ 194 h 207"/>
                <a:gd name="T8" fmla="*/ 179 w 191"/>
                <a:gd name="T9" fmla="*/ 158 h 207"/>
                <a:gd name="T10" fmla="*/ 191 w 191"/>
                <a:gd name="T11" fmla="*/ 103 h 207"/>
                <a:gd name="T12" fmla="*/ 179 w 191"/>
                <a:gd name="T13" fmla="*/ 50 h 207"/>
                <a:gd name="T14" fmla="*/ 145 w 191"/>
                <a:gd name="T15" fmla="*/ 13 h 207"/>
                <a:gd name="T16" fmla="*/ 95 w 191"/>
                <a:gd name="T17" fmla="*/ 0 h 207"/>
                <a:gd name="T18" fmla="*/ 26 w 191"/>
                <a:gd name="T19" fmla="*/ 28 h 207"/>
                <a:gd name="T20" fmla="*/ 0 w 191"/>
                <a:gd name="T21" fmla="*/ 106 h 207"/>
                <a:gd name="T22" fmla="*/ 11 w 191"/>
                <a:gd name="T23" fmla="*/ 156 h 207"/>
                <a:gd name="T24" fmla="*/ 47 w 191"/>
                <a:gd name="T25" fmla="*/ 42 h 207"/>
                <a:gd name="T26" fmla="*/ 96 w 191"/>
                <a:gd name="T27" fmla="*/ 22 h 207"/>
                <a:gd name="T28" fmla="*/ 131 w 191"/>
                <a:gd name="T29" fmla="*/ 32 h 207"/>
                <a:gd name="T30" fmla="*/ 155 w 191"/>
                <a:gd name="T31" fmla="*/ 61 h 207"/>
                <a:gd name="T32" fmla="*/ 164 w 191"/>
                <a:gd name="T33" fmla="*/ 103 h 207"/>
                <a:gd name="T34" fmla="*/ 144 w 191"/>
                <a:gd name="T35" fmla="*/ 163 h 207"/>
                <a:gd name="T36" fmla="*/ 95 w 191"/>
                <a:gd name="T37" fmla="*/ 184 h 207"/>
                <a:gd name="T38" fmla="*/ 46 w 191"/>
                <a:gd name="T39" fmla="*/ 163 h 207"/>
                <a:gd name="T40" fmla="*/ 27 w 191"/>
                <a:gd name="T41" fmla="*/ 106 h 207"/>
                <a:gd name="T42" fmla="*/ 47 w 191"/>
                <a:gd name="T43" fmla="*/ 42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1" h="207">
                  <a:moveTo>
                    <a:pt x="11" y="156"/>
                  </a:moveTo>
                  <a:cubicBezTo>
                    <a:pt x="19" y="171"/>
                    <a:pt x="30" y="184"/>
                    <a:pt x="45" y="193"/>
                  </a:cubicBezTo>
                  <a:cubicBezTo>
                    <a:pt x="60" y="202"/>
                    <a:pt x="76" y="207"/>
                    <a:pt x="95" y="207"/>
                  </a:cubicBezTo>
                  <a:cubicBezTo>
                    <a:pt x="113" y="207"/>
                    <a:pt x="129" y="203"/>
                    <a:pt x="144" y="194"/>
                  </a:cubicBezTo>
                  <a:cubicBezTo>
                    <a:pt x="159" y="186"/>
                    <a:pt x="171" y="174"/>
                    <a:pt x="179" y="158"/>
                  </a:cubicBezTo>
                  <a:cubicBezTo>
                    <a:pt x="187" y="142"/>
                    <a:pt x="191" y="124"/>
                    <a:pt x="191" y="103"/>
                  </a:cubicBezTo>
                  <a:cubicBezTo>
                    <a:pt x="191" y="83"/>
                    <a:pt x="187" y="66"/>
                    <a:pt x="179" y="50"/>
                  </a:cubicBezTo>
                  <a:cubicBezTo>
                    <a:pt x="172" y="34"/>
                    <a:pt x="160" y="22"/>
                    <a:pt x="145" y="13"/>
                  </a:cubicBezTo>
                  <a:cubicBezTo>
                    <a:pt x="131" y="4"/>
                    <a:pt x="114" y="0"/>
                    <a:pt x="95" y="0"/>
                  </a:cubicBezTo>
                  <a:cubicBezTo>
                    <a:pt x="67" y="0"/>
                    <a:pt x="44" y="9"/>
                    <a:pt x="26" y="28"/>
                  </a:cubicBezTo>
                  <a:cubicBezTo>
                    <a:pt x="8" y="47"/>
                    <a:pt x="0" y="73"/>
                    <a:pt x="0" y="106"/>
                  </a:cubicBezTo>
                  <a:cubicBezTo>
                    <a:pt x="0" y="123"/>
                    <a:pt x="3" y="140"/>
                    <a:pt x="11" y="156"/>
                  </a:cubicBezTo>
                  <a:close/>
                  <a:moveTo>
                    <a:pt x="47" y="42"/>
                  </a:moveTo>
                  <a:cubicBezTo>
                    <a:pt x="61" y="29"/>
                    <a:pt x="77" y="22"/>
                    <a:pt x="96" y="22"/>
                  </a:cubicBezTo>
                  <a:cubicBezTo>
                    <a:pt x="109" y="22"/>
                    <a:pt x="121" y="26"/>
                    <a:pt x="131" y="32"/>
                  </a:cubicBezTo>
                  <a:cubicBezTo>
                    <a:pt x="142" y="39"/>
                    <a:pt x="150" y="48"/>
                    <a:pt x="155" y="61"/>
                  </a:cubicBezTo>
                  <a:cubicBezTo>
                    <a:pt x="161" y="73"/>
                    <a:pt x="164" y="87"/>
                    <a:pt x="164" y="103"/>
                  </a:cubicBezTo>
                  <a:cubicBezTo>
                    <a:pt x="164" y="129"/>
                    <a:pt x="157" y="149"/>
                    <a:pt x="144" y="163"/>
                  </a:cubicBezTo>
                  <a:cubicBezTo>
                    <a:pt x="132" y="177"/>
                    <a:pt x="115" y="184"/>
                    <a:pt x="95" y="184"/>
                  </a:cubicBezTo>
                  <a:cubicBezTo>
                    <a:pt x="76" y="184"/>
                    <a:pt x="59" y="177"/>
                    <a:pt x="46" y="163"/>
                  </a:cubicBezTo>
                  <a:cubicBezTo>
                    <a:pt x="33" y="149"/>
                    <a:pt x="27" y="130"/>
                    <a:pt x="27" y="106"/>
                  </a:cubicBezTo>
                  <a:cubicBezTo>
                    <a:pt x="27" y="76"/>
                    <a:pt x="34" y="55"/>
                    <a:pt x="47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7"/>
            <p:cNvSpPr>
              <a:spLocks noEditPoints="1"/>
            </p:cNvSpPr>
            <p:nvPr userDrawn="1"/>
          </p:nvSpPr>
          <p:spPr bwMode="black">
            <a:xfrm>
              <a:off x="7594" y="3754"/>
              <a:ext cx="503" cy="511"/>
            </a:xfrm>
            <a:custGeom>
              <a:avLst/>
              <a:gdLst>
                <a:gd name="T0" fmla="*/ 143 w 213"/>
                <a:gd name="T1" fmla="*/ 87 h 216"/>
                <a:gd name="T2" fmla="*/ 144 w 213"/>
                <a:gd name="T3" fmla="*/ 100 h 216"/>
                <a:gd name="T4" fmla="*/ 141 w 213"/>
                <a:gd name="T5" fmla="*/ 25 h 216"/>
                <a:gd name="T6" fmla="*/ 123 w 213"/>
                <a:gd name="T7" fmla="*/ 6 h 216"/>
                <a:gd name="T8" fmla="*/ 95 w 213"/>
                <a:gd name="T9" fmla="*/ 25 h 216"/>
                <a:gd name="T10" fmla="*/ 76 w 213"/>
                <a:gd name="T11" fmla="*/ 129 h 216"/>
                <a:gd name="T12" fmla="*/ 73 w 213"/>
                <a:gd name="T13" fmla="*/ 147 h 216"/>
                <a:gd name="T14" fmla="*/ 65 w 213"/>
                <a:gd name="T15" fmla="*/ 198 h 216"/>
                <a:gd name="T16" fmla="*/ 123 w 213"/>
                <a:gd name="T17" fmla="*/ 159 h 216"/>
                <a:gd name="T18" fmla="*/ 117 w 213"/>
                <a:gd name="T19" fmla="*/ 198 h 216"/>
                <a:gd name="T20" fmla="*/ 106 w 213"/>
                <a:gd name="T21" fmla="*/ 216 h 216"/>
                <a:gd name="T22" fmla="*/ 138 w 213"/>
                <a:gd name="T23" fmla="*/ 209 h 216"/>
                <a:gd name="T24" fmla="*/ 141 w 213"/>
                <a:gd name="T25" fmla="*/ 130 h 216"/>
                <a:gd name="T26" fmla="*/ 158 w 213"/>
                <a:gd name="T27" fmla="*/ 139 h 216"/>
                <a:gd name="T28" fmla="*/ 158 w 213"/>
                <a:gd name="T29" fmla="*/ 81 h 216"/>
                <a:gd name="T30" fmla="*/ 95 w 213"/>
                <a:gd name="T31" fmla="*/ 43 h 216"/>
                <a:gd name="T32" fmla="*/ 123 w 213"/>
                <a:gd name="T33" fmla="*/ 57 h 216"/>
                <a:gd name="T34" fmla="*/ 95 w 213"/>
                <a:gd name="T35" fmla="*/ 91 h 216"/>
                <a:gd name="T36" fmla="*/ 123 w 213"/>
                <a:gd name="T37" fmla="*/ 74 h 216"/>
                <a:gd name="T38" fmla="*/ 95 w 213"/>
                <a:gd name="T39" fmla="*/ 91 h 216"/>
                <a:gd name="T40" fmla="*/ 95 w 213"/>
                <a:gd name="T41" fmla="*/ 108 h 216"/>
                <a:gd name="T42" fmla="*/ 123 w 213"/>
                <a:gd name="T43" fmla="*/ 124 h 216"/>
                <a:gd name="T44" fmla="*/ 213 w 213"/>
                <a:gd name="T45" fmla="*/ 54 h 216"/>
                <a:gd name="T46" fmla="*/ 198 w 213"/>
                <a:gd name="T47" fmla="*/ 4 h 216"/>
                <a:gd name="T48" fmla="*/ 180 w 213"/>
                <a:gd name="T49" fmla="*/ 54 h 216"/>
                <a:gd name="T50" fmla="*/ 147 w 213"/>
                <a:gd name="T51" fmla="*/ 71 h 216"/>
                <a:gd name="T52" fmla="*/ 180 w 213"/>
                <a:gd name="T53" fmla="*/ 190 h 216"/>
                <a:gd name="T54" fmla="*/ 153 w 213"/>
                <a:gd name="T55" fmla="*/ 198 h 216"/>
                <a:gd name="T56" fmla="*/ 190 w 213"/>
                <a:gd name="T57" fmla="*/ 209 h 216"/>
                <a:gd name="T58" fmla="*/ 198 w 213"/>
                <a:gd name="T59" fmla="*/ 71 h 216"/>
                <a:gd name="T60" fmla="*/ 213 w 213"/>
                <a:gd name="T61" fmla="*/ 54 h 216"/>
                <a:gd name="T62" fmla="*/ 9 w 213"/>
                <a:gd name="T63" fmla="*/ 6 h 216"/>
                <a:gd name="T64" fmla="*/ 68 w 213"/>
                <a:gd name="T65" fmla="*/ 23 h 216"/>
                <a:gd name="T66" fmla="*/ 73 w 213"/>
                <a:gd name="T67" fmla="*/ 38 h 216"/>
                <a:gd name="T68" fmla="*/ 0 w 213"/>
                <a:gd name="T69" fmla="*/ 55 h 216"/>
                <a:gd name="T70" fmla="*/ 73 w 213"/>
                <a:gd name="T71" fmla="*/ 38 h 216"/>
                <a:gd name="T72" fmla="*/ 9 w 213"/>
                <a:gd name="T73" fmla="*/ 68 h 216"/>
                <a:gd name="T74" fmla="*/ 68 w 213"/>
                <a:gd name="T75" fmla="*/ 85 h 216"/>
                <a:gd name="T76" fmla="*/ 68 w 213"/>
                <a:gd name="T77" fmla="*/ 98 h 216"/>
                <a:gd name="T78" fmla="*/ 9 w 213"/>
                <a:gd name="T79" fmla="*/ 116 h 216"/>
                <a:gd name="T80" fmla="*/ 68 w 213"/>
                <a:gd name="T81" fmla="*/ 98 h 216"/>
                <a:gd name="T82" fmla="*/ 11 w 213"/>
                <a:gd name="T83" fmla="*/ 132 h 216"/>
                <a:gd name="T84" fmla="*/ 29 w 213"/>
                <a:gd name="T85" fmla="*/ 212 h 216"/>
                <a:gd name="T86" fmla="*/ 66 w 213"/>
                <a:gd name="T87" fmla="*/ 195 h 216"/>
                <a:gd name="T88" fmla="*/ 29 w 213"/>
                <a:gd name="T89" fmla="*/ 178 h 216"/>
                <a:gd name="T90" fmla="*/ 48 w 213"/>
                <a:gd name="T91" fmla="*/ 150 h 216"/>
                <a:gd name="T92" fmla="*/ 29 w 213"/>
                <a:gd name="T93" fmla="*/ 17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3" h="216">
                  <a:moveTo>
                    <a:pt x="158" y="81"/>
                  </a:moveTo>
                  <a:cubicBezTo>
                    <a:pt x="143" y="87"/>
                    <a:pt x="143" y="87"/>
                    <a:pt x="143" y="87"/>
                  </a:cubicBezTo>
                  <a:cubicBezTo>
                    <a:pt x="146" y="93"/>
                    <a:pt x="150" y="100"/>
                    <a:pt x="152" y="107"/>
                  </a:cubicBezTo>
                  <a:cubicBezTo>
                    <a:pt x="144" y="100"/>
                    <a:pt x="144" y="100"/>
                    <a:pt x="144" y="100"/>
                  </a:cubicBezTo>
                  <a:cubicBezTo>
                    <a:pt x="141" y="103"/>
                    <a:pt x="141" y="103"/>
                    <a:pt x="141" y="103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14" y="25"/>
                    <a:pt x="114" y="25"/>
                    <a:pt x="114" y="25"/>
                  </a:cubicBezTo>
                  <a:cubicBezTo>
                    <a:pt x="118" y="21"/>
                    <a:pt x="121" y="15"/>
                    <a:pt x="123" y="6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2" y="11"/>
                    <a:pt x="99" y="19"/>
                    <a:pt x="95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6" y="129"/>
                    <a:pt x="76" y="129"/>
                    <a:pt x="76" y="129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116" y="141"/>
                    <a:pt x="116" y="141"/>
                    <a:pt x="116" y="141"/>
                  </a:cubicBezTo>
                  <a:cubicBezTo>
                    <a:pt x="97" y="168"/>
                    <a:pt x="80" y="187"/>
                    <a:pt x="65" y="198"/>
                  </a:cubicBezTo>
                  <a:cubicBezTo>
                    <a:pt x="77" y="212"/>
                    <a:pt x="77" y="212"/>
                    <a:pt x="77" y="212"/>
                  </a:cubicBezTo>
                  <a:cubicBezTo>
                    <a:pt x="96" y="196"/>
                    <a:pt x="111" y="178"/>
                    <a:pt x="123" y="159"/>
                  </a:cubicBezTo>
                  <a:cubicBezTo>
                    <a:pt x="123" y="191"/>
                    <a:pt x="123" y="191"/>
                    <a:pt x="123" y="191"/>
                  </a:cubicBezTo>
                  <a:cubicBezTo>
                    <a:pt x="123" y="196"/>
                    <a:pt x="121" y="198"/>
                    <a:pt x="117" y="198"/>
                  </a:cubicBezTo>
                  <a:cubicBezTo>
                    <a:pt x="98" y="198"/>
                    <a:pt x="98" y="198"/>
                    <a:pt x="98" y="198"/>
                  </a:cubicBezTo>
                  <a:cubicBezTo>
                    <a:pt x="106" y="216"/>
                    <a:pt x="106" y="216"/>
                    <a:pt x="106" y="216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31" y="216"/>
                    <a:pt x="135" y="214"/>
                    <a:pt x="138" y="209"/>
                  </a:cubicBezTo>
                  <a:cubicBezTo>
                    <a:pt x="140" y="204"/>
                    <a:pt x="141" y="200"/>
                    <a:pt x="141" y="197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54" y="112"/>
                    <a:pt x="154" y="112"/>
                    <a:pt x="154" y="112"/>
                  </a:cubicBezTo>
                  <a:cubicBezTo>
                    <a:pt x="157" y="122"/>
                    <a:pt x="158" y="131"/>
                    <a:pt x="158" y="139"/>
                  </a:cubicBezTo>
                  <a:cubicBezTo>
                    <a:pt x="175" y="135"/>
                    <a:pt x="175" y="135"/>
                    <a:pt x="175" y="135"/>
                  </a:cubicBezTo>
                  <a:cubicBezTo>
                    <a:pt x="174" y="114"/>
                    <a:pt x="168" y="96"/>
                    <a:pt x="158" y="81"/>
                  </a:cubicBezTo>
                  <a:close/>
                  <a:moveTo>
                    <a:pt x="95" y="57"/>
                  </a:moveTo>
                  <a:cubicBezTo>
                    <a:pt x="95" y="43"/>
                    <a:pt x="95" y="43"/>
                    <a:pt x="95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57"/>
                    <a:pt x="123" y="57"/>
                    <a:pt x="123" y="57"/>
                  </a:cubicBezTo>
                  <a:lnTo>
                    <a:pt x="95" y="57"/>
                  </a:lnTo>
                  <a:close/>
                  <a:moveTo>
                    <a:pt x="95" y="91"/>
                  </a:moveTo>
                  <a:cubicBezTo>
                    <a:pt x="95" y="74"/>
                    <a:pt x="95" y="74"/>
                    <a:pt x="95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91"/>
                    <a:pt x="123" y="91"/>
                    <a:pt x="123" y="91"/>
                  </a:cubicBezTo>
                  <a:lnTo>
                    <a:pt x="95" y="91"/>
                  </a:lnTo>
                  <a:close/>
                  <a:moveTo>
                    <a:pt x="95" y="127"/>
                  </a:moveTo>
                  <a:cubicBezTo>
                    <a:pt x="95" y="108"/>
                    <a:pt x="95" y="108"/>
                    <a:pt x="95" y="108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3" y="124"/>
                    <a:pt x="123" y="124"/>
                    <a:pt x="123" y="124"/>
                  </a:cubicBezTo>
                  <a:lnTo>
                    <a:pt x="95" y="127"/>
                  </a:lnTo>
                  <a:close/>
                  <a:moveTo>
                    <a:pt x="213" y="54"/>
                  </a:moveTo>
                  <a:cubicBezTo>
                    <a:pt x="198" y="54"/>
                    <a:pt x="198" y="54"/>
                    <a:pt x="198" y="54"/>
                  </a:cubicBezTo>
                  <a:cubicBezTo>
                    <a:pt x="198" y="4"/>
                    <a:pt x="198" y="4"/>
                    <a:pt x="198" y="4"/>
                  </a:cubicBezTo>
                  <a:cubicBezTo>
                    <a:pt x="180" y="4"/>
                    <a:pt x="180" y="4"/>
                    <a:pt x="180" y="4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47" y="54"/>
                    <a:pt x="147" y="54"/>
                    <a:pt x="147" y="54"/>
                  </a:cubicBezTo>
                  <a:cubicBezTo>
                    <a:pt x="147" y="71"/>
                    <a:pt x="147" y="71"/>
                    <a:pt x="147" y="71"/>
                  </a:cubicBezTo>
                  <a:cubicBezTo>
                    <a:pt x="180" y="71"/>
                    <a:pt x="180" y="71"/>
                    <a:pt x="180" y="71"/>
                  </a:cubicBezTo>
                  <a:cubicBezTo>
                    <a:pt x="180" y="190"/>
                    <a:pt x="180" y="190"/>
                    <a:pt x="180" y="190"/>
                  </a:cubicBezTo>
                  <a:cubicBezTo>
                    <a:pt x="180" y="195"/>
                    <a:pt x="177" y="198"/>
                    <a:pt x="172" y="198"/>
                  </a:cubicBezTo>
                  <a:cubicBezTo>
                    <a:pt x="153" y="198"/>
                    <a:pt x="153" y="198"/>
                    <a:pt x="153" y="198"/>
                  </a:cubicBezTo>
                  <a:cubicBezTo>
                    <a:pt x="160" y="216"/>
                    <a:pt x="160" y="216"/>
                    <a:pt x="160" y="216"/>
                  </a:cubicBezTo>
                  <a:cubicBezTo>
                    <a:pt x="175" y="216"/>
                    <a:pt x="185" y="213"/>
                    <a:pt x="190" y="209"/>
                  </a:cubicBezTo>
                  <a:cubicBezTo>
                    <a:pt x="195" y="204"/>
                    <a:pt x="198" y="197"/>
                    <a:pt x="198" y="187"/>
                  </a:cubicBezTo>
                  <a:cubicBezTo>
                    <a:pt x="198" y="71"/>
                    <a:pt x="198" y="71"/>
                    <a:pt x="198" y="71"/>
                  </a:cubicBezTo>
                  <a:cubicBezTo>
                    <a:pt x="213" y="71"/>
                    <a:pt x="213" y="71"/>
                    <a:pt x="213" y="71"/>
                  </a:cubicBezTo>
                  <a:lnTo>
                    <a:pt x="213" y="54"/>
                  </a:lnTo>
                  <a:close/>
                  <a:moveTo>
                    <a:pt x="68" y="6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68" y="23"/>
                    <a:pt x="68" y="23"/>
                    <a:pt x="68" y="23"/>
                  </a:cubicBezTo>
                  <a:lnTo>
                    <a:pt x="68" y="6"/>
                  </a:lnTo>
                  <a:close/>
                  <a:moveTo>
                    <a:pt x="73" y="38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73" y="55"/>
                    <a:pt x="73" y="55"/>
                    <a:pt x="73" y="55"/>
                  </a:cubicBezTo>
                  <a:lnTo>
                    <a:pt x="73" y="38"/>
                  </a:lnTo>
                  <a:close/>
                  <a:moveTo>
                    <a:pt x="68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8" y="85"/>
                    <a:pt x="68" y="85"/>
                    <a:pt x="68" y="85"/>
                  </a:cubicBezTo>
                  <a:lnTo>
                    <a:pt x="68" y="68"/>
                  </a:lnTo>
                  <a:close/>
                  <a:moveTo>
                    <a:pt x="68" y="98"/>
                  </a:moveTo>
                  <a:cubicBezTo>
                    <a:pt x="9" y="98"/>
                    <a:pt x="9" y="98"/>
                    <a:pt x="9" y="98"/>
                  </a:cubicBezTo>
                  <a:cubicBezTo>
                    <a:pt x="9" y="116"/>
                    <a:pt x="9" y="116"/>
                    <a:pt x="9" y="116"/>
                  </a:cubicBezTo>
                  <a:cubicBezTo>
                    <a:pt x="68" y="116"/>
                    <a:pt x="68" y="116"/>
                    <a:pt x="68" y="116"/>
                  </a:cubicBezTo>
                  <a:lnTo>
                    <a:pt x="68" y="98"/>
                  </a:lnTo>
                  <a:close/>
                  <a:moveTo>
                    <a:pt x="66" y="132"/>
                  </a:moveTo>
                  <a:cubicBezTo>
                    <a:pt x="11" y="132"/>
                    <a:pt x="11" y="132"/>
                    <a:pt x="11" y="132"/>
                  </a:cubicBezTo>
                  <a:cubicBezTo>
                    <a:pt x="11" y="212"/>
                    <a:pt x="11" y="212"/>
                    <a:pt x="11" y="212"/>
                  </a:cubicBezTo>
                  <a:cubicBezTo>
                    <a:pt x="29" y="212"/>
                    <a:pt x="29" y="212"/>
                    <a:pt x="29" y="212"/>
                  </a:cubicBezTo>
                  <a:cubicBezTo>
                    <a:pt x="29" y="195"/>
                    <a:pt x="29" y="195"/>
                    <a:pt x="29" y="195"/>
                  </a:cubicBezTo>
                  <a:cubicBezTo>
                    <a:pt x="66" y="195"/>
                    <a:pt x="66" y="195"/>
                    <a:pt x="66" y="195"/>
                  </a:cubicBezTo>
                  <a:lnTo>
                    <a:pt x="66" y="132"/>
                  </a:lnTo>
                  <a:close/>
                  <a:moveTo>
                    <a:pt x="29" y="178"/>
                  </a:moveTo>
                  <a:cubicBezTo>
                    <a:pt x="29" y="150"/>
                    <a:pt x="29" y="150"/>
                    <a:pt x="29" y="150"/>
                  </a:cubicBezTo>
                  <a:cubicBezTo>
                    <a:pt x="48" y="150"/>
                    <a:pt x="48" y="150"/>
                    <a:pt x="48" y="150"/>
                  </a:cubicBezTo>
                  <a:cubicBezTo>
                    <a:pt x="48" y="178"/>
                    <a:pt x="48" y="178"/>
                    <a:pt x="48" y="178"/>
                  </a:cubicBezTo>
                  <a:lnTo>
                    <a:pt x="29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8"/>
            <p:cNvSpPr>
              <a:spLocks noEditPoints="1"/>
            </p:cNvSpPr>
            <p:nvPr userDrawn="1"/>
          </p:nvSpPr>
          <p:spPr bwMode="black">
            <a:xfrm>
              <a:off x="8161" y="3754"/>
              <a:ext cx="506" cy="511"/>
            </a:xfrm>
            <a:custGeom>
              <a:avLst/>
              <a:gdLst>
                <a:gd name="T0" fmla="*/ 143 w 214"/>
                <a:gd name="T1" fmla="*/ 87 h 216"/>
                <a:gd name="T2" fmla="*/ 144 w 214"/>
                <a:gd name="T3" fmla="*/ 100 h 216"/>
                <a:gd name="T4" fmla="*/ 141 w 214"/>
                <a:gd name="T5" fmla="*/ 25 h 216"/>
                <a:gd name="T6" fmla="*/ 123 w 214"/>
                <a:gd name="T7" fmla="*/ 6 h 216"/>
                <a:gd name="T8" fmla="*/ 96 w 214"/>
                <a:gd name="T9" fmla="*/ 25 h 216"/>
                <a:gd name="T10" fmla="*/ 77 w 214"/>
                <a:gd name="T11" fmla="*/ 129 h 216"/>
                <a:gd name="T12" fmla="*/ 73 w 214"/>
                <a:gd name="T13" fmla="*/ 147 h 216"/>
                <a:gd name="T14" fmla="*/ 65 w 214"/>
                <a:gd name="T15" fmla="*/ 198 h 216"/>
                <a:gd name="T16" fmla="*/ 123 w 214"/>
                <a:gd name="T17" fmla="*/ 159 h 216"/>
                <a:gd name="T18" fmla="*/ 117 w 214"/>
                <a:gd name="T19" fmla="*/ 198 h 216"/>
                <a:gd name="T20" fmla="*/ 107 w 214"/>
                <a:gd name="T21" fmla="*/ 216 h 216"/>
                <a:gd name="T22" fmla="*/ 138 w 214"/>
                <a:gd name="T23" fmla="*/ 209 h 216"/>
                <a:gd name="T24" fmla="*/ 141 w 214"/>
                <a:gd name="T25" fmla="*/ 130 h 216"/>
                <a:gd name="T26" fmla="*/ 158 w 214"/>
                <a:gd name="T27" fmla="*/ 139 h 216"/>
                <a:gd name="T28" fmla="*/ 158 w 214"/>
                <a:gd name="T29" fmla="*/ 81 h 216"/>
                <a:gd name="T30" fmla="*/ 95 w 214"/>
                <a:gd name="T31" fmla="*/ 43 h 216"/>
                <a:gd name="T32" fmla="*/ 123 w 214"/>
                <a:gd name="T33" fmla="*/ 57 h 216"/>
                <a:gd name="T34" fmla="*/ 95 w 214"/>
                <a:gd name="T35" fmla="*/ 91 h 216"/>
                <a:gd name="T36" fmla="*/ 123 w 214"/>
                <a:gd name="T37" fmla="*/ 74 h 216"/>
                <a:gd name="T38" fmla="*/ 95 w 214"/>
                <a:gd name="T39" fmla="*/ 91 h 216"/>
                <a:gd name="T40" fmla="*/ 95 w 214"/>
                <a:gd name="T41" fmla="*/ 108 h 216"/>
                <a:gd name="T42" fmla="*/ 123 w 214"/>
                <a:gd name="T43" fmla="*/ 124 h 216"/>
                <a:gd name="T44" fmla="*/ 214 w 214"/>
                <a:gd name="T45" fmla="*/ 54 h 216"/>
                <a:gd name="T46" fmla="*/ 198 w 214"/>
                <a:gd name="T47" fmla="*/ 4 h 216"/>
                <a:gd name="T48" fmla="*/ 180 w 214"/>
                <a:gd name="T49" fmla="*/ 54 h 216"/>
                <a:gd name="T50" fmla="*/ 147 w 214"/>
                <a:gd name="T51" fmla="*/ 71 h 216"/>
                <a:gd name="T52" fmla="*/ 180 w 214"/>
                <a:gd name="T53" fmla="*/ 190 h 216"/>
                <a:gd name="T54" fmla="*/ 153 w 214"/>
                <a:gd name="T55" fmla="*/ 198 h 216"/>
                <a:gd name="T56" fmla="*/ 191 w 214"/>
                <a:gd name="T57" fmla="*/ 209 h 216"/>
                <a:gd name="T58" fmla="*/ 198 w 214"/>
                <a:gd name="T59" fmla="*/ 71 h 216"/>
                <a:gd name="T60" fmla="*/ 214 w 214"/>
                <a:gd name="T61" fmla="*/ 54 h 216"/>
                <a:gd name="T62" fmla="*/ 9 w 214"/>
                <a:gd name="T63" fmla="*/ 6 h 216"/>
                <a:gd name="T64" fmla="*/ 68 w 214"/>
                <a:gd name="T65" fmla="*/ 23 h 216"/>
                <a:gd name="T66" fmla="*/ 73 w 214"/>
                <a:gd name="T67" fmla="*/ 38 h 216"/>
                <a:gd name="T68" fmla="*/ 0 w 214"/>
                <a:gd name="T69" fmla="*/ 55 h 216"/>
                <a:gd name="T70" fmla="*/ 73 w 214"/>
                <a:gd name="T71" fmla="*/ 38 h 216"/>
                <a:gd name="T72" fmla="*/ 9 w 214"/>
                <a:gd name="T73" fmla="*/ 68 h 216"/>
                <a:gd name="T74" fmla="*/ 68 w 214"/>
                <a:gd name="T75" fmla="*/ 85 h 216"/>
                <a:gd name="T76" fmla="*/ 68 w 214"/>
                <a:gd name="T77" fmla="*/ 98 h 216"/>
                <a:gd name="T78" fmla="*/ 9 w 214"/>
                <a:gd name="T79" fmla="*/ 116 h 216"/>
                <a:gd name="T80" fmla="*/ 68 w 214"/>
                <a:gd name="T81" fmla="*/ 98 h 216"/>
                <a:gd name="T82" fmla="*/ 12 w 214"/>
                <a:gd name="T83" fmla="*/ 132 h 216"/>
                <a:gd name="T84" fmla="*/ 30 w 214"/>
                <a:gd name="T85" fmla="*/ 212 h 216"/>
                <a:gd name="T86" fmla="*/ 66 w 214"/>
                <a:gd name="T87" fmla="*/ 195 h 216"/>
                <a:gd name="T88" fmla="*/ 30 w 214"/>
                <a:gd name="T89" fmla="*/ 178 h 216"/>
                <a:gd name="T90" fmla="*/ 48 w 214"/>
                <a:gd name="T91" fmla="*/ 150 h 216"/>
                <a:gd name="T92" fmla="*/ 30 w 214"/>
                <a:gd name="T93" fmla="*/ 17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4" h="216">
                  <a:moveTo>
                    <a:pt x="158" y="81"/>
                  </a:moveTo>
                  <a:cubicBezTo>
                    <a:pt x="143" y="87"/>
                    <a:pt x="143" y="87"/>
                    <a:pt x="143" y="87"/>
                  </a:cubicBezTo>
                  <a:cubicBezTo>
                    <a:pt x="147" y="93"/>
                    <a:pt x="150" y="100"/>
                    <a:pt x="152" y="107"/>
                  </a:cubicBezTo>
                  <a:cubicBezTo>
                    <a:pt x="144" y="100"/>
                    <a:pt x="144" y="100"/>
                    <a:pt x="144" y="100"/>
                  </a:cubicBezTo>
                  <a:cubicBezTo>
                    <a:pt x="141" y="103"/>
                    <a:pt x="141" y="103"/>
                    <a:pt x="141" y="103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118" y="21"/>
                    <a:pt x="121" y="15"/>
                    <a:pt x="123" y="6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3" y="11"/>
                    <a:pt x="99" y="19"/>
                    <a:pt x="96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129"/>
                    <a:pt x="77" y="129"/>
                    <a:pt x="77" y="129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116" y="141"/>
                    <a:pt x="116" y="141"/>
                    <a:pt x="116" y="141"/>
                  </a:cubicBezTo>
                  <a:cubicBezTo>
                    <a:pt x="97" y="168"/>
                    <a:pt x="80" y="187"/>
                    <a:pt x="65" y="198"/>
                  </a:cubicBezTo>
                  <a:cubicBezTo>
                    <a:pt x="78" y="212"/>
                    <a:pt x="78" y="212"/>
                    <a:pt x="78" y="212"/>
                  </a:cubicBezTo>
                  <a:cubicBezTo>
                    <a:pt x="96" y="196"/>
                    <a:pt x="111" y="178"/>
                    <a:pt x="123" y="159"/>
                  </a:cubicBezTo>
                  <a:cubicBezTo>
                    <a:pt x="123" y="191"/>
                    <a:pt x="123" y="191"/>
                    <a:pt x="123" y="191"/>
                  </a:cubicBezTo>
                  <a:cubicBezTo>
                    <a:pt x="123" y="196"/>
                    <a:pt x="121" y="198"/>
                    <a:pt x="117" y="198"/>
                  </a:cubicBezTo>
                  <a:cubicBezTo>
                    <a:pt x="98" y="198"/>
                    <a:pt x="98" y="198"/>
                    <a:pt x="98" y="198"/>
                  </a:cubicBezTo>
                  <a:cubicBezTo>
                    <a:pt x="107" y="216"/>
                    <a:pt x="107" y="216"/>
                    <a:pt x="107" y="216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31" y="216"/>
                    <a:pt x="135" y="214"/>
                    <a:pt x="138" y="209"/>
                  </a:cubicBezTo>
                  <a:cubicBezTo>
                    <a:pt x="140" y="204"/>
                    <a:pt x="141" y="200"/>
                    <a:pt x="141" y="197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54" y="112"/>
                    <a:pt x="154" y="112"/>
                    <a:pt x="154" y="112"/>
                  </a:cubicBezTo>
                  <a:cubicBezTo>
                    <a:pt x="157" y="122"/>
                    <a:pt x="158" y="131"/>
                    <a:pt x="158" y="139"/>
                  </a:cubicBezTo>
                  <a:cubicBezTo>
                    <a:pt x="175" y="135"/>
                    <a:pt x="175" y="135"/>
                    <a:pt x="175" y="135"/>
                  </a:cubicBezTo>
                  <a:cubicBezTo>
                    <a:pt x="174" y="114"/>
                    <a:pt x="168" y="96"/>
                    <a:pt x="158" y="81"/>
                  </a:cubicBezTo>
                  <a:close/>
                  <a:moveTo>
                    <a:pt x="95" y="57"/>
                  </a:moveTo>
                  <a:cubicBezTo>
                    <a:pt x="95" y="43"/>
                    <a:pt x="95" y="43"/>
                    <a:pt x="95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57"/>
                    <a:pt x="123" y="57"/>
                    <a:pt x="123" y="57"/>
                  </a:cubicBezTo>
                  <a:lnTo>
                    <a:pt x="95" y="57"/>
                  </a:lnTo>
                  <a:close/>
                  <a:moveTo>
                    <a:pt x="95" y="91"/>
                  </a:moveTo>
                  <a:cubicBezTo>
                    <a:pt x="95" y="74"/>
                    <a:pt x="95" y="74"/>
                    <a:pt x="95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91"/>
                    <a:pt x="123" y="91"/>
                    <a:pt x="123" y="91"/>
                  </a:cubicBezTo>
                  <a:lnTo>
                    <a:pt x="95" y="91"/>
                  </a:lnTo>
                  <a:close/>
                  <a:moveTo>
                    <a:pt x="95" y="127"/>
                  </a:moveTo>
                  <a:cubicBezTo>
                    <a:pt x="95" y="108"/>
                    <a:pt x="95" y="108"/>
                    <a:pt x="95" y="108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3" y="124"/>
                    <a:pt x="123" y="124"/>
                    <a:pt x="123" y="124"/>
                  </a:cubicBezTo>
                  <a:lnTo>
                    <a:pt x="95" y="127"/>
                  </a:lnTo>
                  <a:close/>
                  <a:moveTo>
                    <a:pt x="214" y="54"/>
                  </a:moveTo>
                  <a:cubicBezTo>
                    <a:pt x="198" y="54"/>
                    <a:pt x="198" y="54"/>
                    <a:pt x="198" y="54"/>
                  </a:cubicBezTo>
                  <a:cubicBezTo>
                    <a:pt x="198" y="4"/>
                    <a:pt x="198" y="4"/>
                    <a:pt x="198" y="4"/>
                  </a:cubicBezTo>
                  <a:cubicBezTo>
                    <a:pt x="180" y="4"/>
                    <a:pt x="180" y="4"/>
                    <a:pt x="180" y="4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47" y="54"/>
                    <a:pt x="147" y="54"/>
                    <a:pt x="147" y="54"/>
                  </a:cubicBezTo>
                  <a:cubicBezTo>
                    <a:pt x="147" y="71"/>
                    <a:pt x="147" y="71"/>
                    <a:pt x="147" y="71"/>
                  </a:cubicBezTo>
                  <a:cubicBezTo>
                    <a:pt x="180" y="71"/>
                    <a:pt x="180" y="71"/>
                    <a:pt x="180" y="71"/>
                  </a:cubicBezTo>
                  <a:cubicBezTo>
                    <a:pt x="180" y="190"/>
                    <a:pt x="180" y="190"/>
                    <a:pt x="180" y="190"/>
                  </a:cubicBezTo>
                  <a:cubicBezTo>
                    <a:pt x="180" y="195"/>
                    <a:pt x="177" y="198"/>
                    <a:pt x="172" y="198"/>
                  </a:cubicBezTo>
                  <a:cubicBezTo>
                    <a:pt x="153" y="198"/>
                    <a:pt x="153" y="198"/>
                    <a:pt x="153" y="198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76" y="216"/>
                    <a:pt x="186" y="213"/>
                    <a:pt x="191" y="209"/>
                  </a:cubicBezTo>
                  <a:cubicBezTo>
                    <a:pt x="195" y="204"/>
                    <a:pt x="198" y="197"/>
                    <a:pt x="198" y="187"/>
                  </a:cubicBezTo>
                  <a:cubicBezTo>
                    <a:pt x="198" y="71"/>
                    <a:pt x="198" y="71"/>
                    <a:pt x="198" y="71"/>
                  </a:cubicBezTo>
                  <a:cubicBezTo>
                    <a:pt x="214" y="71"/>
                    <a:pt x="214" y="71"/>
                    <a:pt x="214" y="71"/>
                  </a:cubicBezTo>
                  <a:lnTo>
                    <a:pt x="214" y="54"/>
                  </a:lnTo>
                  <a:close/>
                  <a:moveTo>
                    <a:pt x="68" y="6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68" y="23"/>
                    <a:pt x="68" y="23"/>
                    <a:pt x="68" y="23"/>
                  </a:cubicBezTo>
                  <a:lnTo>
                    <a:pt x="68" y="6"/>
                  </a:lnTo>
                  <a:close/>
                  <a:moveTo>
                    <a:pt x="73" y="38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73" y="55"/>
                    <a:pt x="73" y="55"/>
                    <a:pt x="73" y="55"/>
                  </a:cubicBezTo>
                  <a:lnTo>
                    <a:pt x="73" y="38"/>
                  </a:lnTo>
                  <a:close/>
                  <a:moveTo>
                    <a:pt x="68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8" y="85"/>
                    <a:pt x="68" y="85"/>
                    <a:pt x="68" y="85"/>
                  </a:cubicBezTo>
                  <a:lnTo>
                    <a:pt x="68" y="68"/>
                  </a:lnTo>
                  <a:close/>
                  <a:moveTo>
                    <a:pt x="68" y="98"/>
                  </a:moveTo>
                  <a:cubicBezTo>
                    <a:pt x="9" y="98"/>
                    <a:pt x="9" y="98"/>
                    <a:pt x="9" y="98"/>
                  </a:cubicBezTo>
                  <a:cubicBezTo>
                    <a:pt x="9" y="116"/>
                    <a:pt x="9" y="116"/>
                    <a:pt x="9" y="116"/>
                  </a:cubicBezTo>
                  <a:cubicBezTo>
                    <a:pt x="68" y="116"/>
                    <a:pt x="68" y="116"/>
                    <a:pt x="68" y="116"/>
                  </a:cubicBezTo>
                  <a:lnTo>
                    <a:pt x="68" y="98"/>
                  </a:lnTo>
                  <a:close/>
                  <a:moveTo>
                    <a:pt x="66" y="132"/>
                  </a:moveTo>
                  <a:cubicBezTo>
                    <a:pt x="12" y="132"/>
                    <a:pt x="12" y="132"/>
                    <a:pt x="12" y="132"/>
                  </a:cubicBezTo>
                  <a:cubicBezTo>
                    <a:pt x="12" y="212"/>
                    <a:pt x="12" y="212"/>
                    <a:pt x="12" y="212"/>
                  </a:cubicBezTo>
                  <a:cubicBezTo>
                    <a:pt x="30" y="212"/>
                    <a:pt x="30" y="212"/>
                    <a:pt x="30" y="212"/>
                  </a:cubicBezTo>
                  <a:cubicBezTo>
                    <a:pt x="30" y="195"/>
                    <a:pt x="30" y="195"/>
                    <a:pt x="30" y="195"/>
                  </a:cubicBezTo>
                  <a:cubicBezTo>
                    <a:pt x="66" y="195"/>
                    <a:pt x="66" y="195"/>
                    <a:pt x="66" y="195"/>
                  </a:cubicBezTo>
                  <a:lnTo>
                    <a:pt x="66" y="132"/>
                  </a:lnTo>
                  <a:close/>
                  <a:moveTo>
                    <a:pt x="30" y="178"/>
                  </a:moveTo>
                  <a:cubicBezTo>
                    <a:pt x="30" y="150"/>
                    <a:pt x="30" y="150"/>
                    <a:pt x="30" y="150"/>
                  </a:cubicBezTo>
                  <a:cubicBezTo>
                    <a:pt x="48" y="150"/>
                    <a:pt x="48" y="150"/>
                    <a:pt x="48" y="150"/>
                  </a:cubicBezTo>
                  <a:cubicBezTo>
                    <a:pt x="48" y="178"/>
                    <a:pt x="48" y="178"/>
                    <a:pt x="48" y="178"/>
                  </a:cubicBezTo>
                  <a:lnTo>
                    <a:pt x="30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9"/>
            <p:cNvSpPr>
              <a:spLocks/>
            </p:cNvSpPr>
            <p:nvPr userDrawn="1"/>
          </p:nvSpPr>
          <p:spPr bwMode="black">
            <a:xfrm>
              <a:off x="5930" y="1913"/>
              <a:ext cx="437" cy="490"/>
            </a:xfrm>
            <a:custGeom>
              <a:avLst/>
              <a:gdLst>
                <a:gd name="T0" fmla="*/ 159 w 185"/>
                <a:gd name="T1" fmla="*/ 125 h 207"/>
                <a:gd name="T2" fmla="*/ 159 w 185"/>
                <a:gd name="T3" fmla="*/ 162 h 207"/>
                <a:gd name="T4" fmla="*/ 134 w 185"/>
                <a:gd name="T5" fmla="*/ 176 h 207"/>
                <a:gd name="T6" fmla="*/ 101 w 185"/>
                <a:gd name="T7" fmla="*/ 183 h 207"/>
                <a:gd name="T8" fmla="*/ 63 w 185"/>
                <a:gd name="T9" fmla="*/ 174 h 207"/>
                <a:gd name="T10" fmla="*/ 37 w 185"/>
                <a:gd name="T11" fmla="*/ 147 h 207"/>
                <a:gd name="T12" fmla="*/ 27 w 185"/>
                <a:gd name="T13" fmla="*/ 102 h 207"/>
                <a:gd name="T14" fmla="*/ 35 w 185"/>
                <a:gd name="T15" fmla="*/ 62 h 207"/>
                <a:gd name="T16" fmla="*/ 48 w 185"/>
                <a:gd name="T17" fmla="*/ 42 h 207"/>
                <a:gd name="T18" fmla="*/ 69 w 185"/>
                <a:gd name="T19" fmla="*/ 28 h 207"/>
                <a:gd name="T20" fmla="*/ 100 w 185"/>
                <a:gd name="T21" fmla="*/ 22 h 207"/>
                <a:gd name="T22" fmla="*/ 128 w 185"/>
                <a:gd name="T23" fmla="*/ 28 h 207"/>
                <a:gd name="T24" fmla="*/ 147 w 185"/>
                <a:gd name="T25" fmla="*/ 42 h 207"/>
                <a:gd name="T26" fmla="*/ 158 w 185"/>
                <a:gd name="T27" fmla="*/ 66 h 207"/>
                <a:gd name="T28" fmla="*/ 182 w 185"/>
                <a:gd name="T29" fmla="*/ 59 h 207"/>
                <a:gd name="T30" fmla="*/ 167 w 185"/>
                <a:gd name="T31" fmla="*/ 26 h 207"/>
                <a:gd name="T32" fmla="*/ 140 w 185"/>
                <a:gd name="T33" fmla="*/ 7 h 207"/>
                <a:gd name="T34" fmla="*/ 100 w 185"/>
                <a:gd name="T35" fmla="*/ 0 h 207"/>
                <a:gd name="T36" fmla="*/ 47 w 185"/>
                <a:gd name="T37" fmla="*/ 12 h 207"/>
                <a:gd name="T38" fmla="*/ 12 w 185"/>
                <a:gd name="T39" fmla="*/ 49 h 207"/>
                <a:gd name="T40" fmla="*/ 0 w 185"/>
                <a:gd name="T41" fmla="*/ 104 h 207"/>
                <a:gd name="T42" fmla="*/ 12 w 185"/>
                <a:gd name="T43" fmla="*/ 157 h 207"/>
                <a:gd name="T44" fmla="*/ 49 w 185"/>
                <a:gd name="T45" fmla="*/ 194 h 207"/>
                <a:gd name="T46" fmla="*/ 102 w 185"/>
                <a:gd name="T47" fmla="*/ 207 h 207"/>
                <a:gd name="T48" fmla="*/ 145 w 185"/>
                <a:gd name="T49" fmla="*/ 199 h 207"/>
                <a:gd name="T50" fmla="*/ 185 w 185"/>
                <a:gd name="T51" fmla="*/ 175 h 207"/>
                <a:gd name="T52" fmla="*/ 185 w 185"/>
                <a:gd name="T53" fmla="*/ 101 h 207"/>
                <a:gd name="T54" fmla="*/ 100 w 185"/>
                <a:gd name="T55" fmla="*/ 101 h 207"/>
                <a:gd name="T56" fmla="*/ 100 w 185"/>
                <a:gd name="T57" fmla="*/ 125 h 207"/>
                <a:gd name="T58" fmla="*/ 159 w 185"/>
                <a:gd name="T59" fmla="*/ 12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5" h="207">
                  <a:moveTo>
                    <a:pt x="159" y="125"/>
                  </a:moveTo>
                  <a:cubicBezTo>
                    <a:pt x="159" y="162"/>
                    <a:pt x="159" y="162"/>
                    <a:pt x="159" y="162"/>
                  </a:cubicBezTo>
                  <a:cubicBezTo>
                    <a:pt x="154" y="167"/>
                    <a:pt x="145" y="172"/>
                    <a:pt x="134" y="176"/>
                  </a:cubicBezTo>
                  <a:cubicBezTo>
                    <a:pt x="123" y="180"/>
                    <a:pt x="112" y="183"/>
                    <a:pt x="101" y="183"/>
                  </a:cubicBezTo>
                  <a:cubicBezTo>
                    <a:pt x="88" y="183"/>
                    <a:pt x="75" y="180"/>
                    <a:pt x="63" y="174"/>
                  </a:cubicBezTo>
                  <a:cubicBezTo>
                    <a:pt x="52" y="168"/>
                    <a:pt x="43" y="159"/>
                    <a:pt x="37" y="147"/>
                  </a:cubicBezTo>
                  <a:cubicBezTo>
                    <a:pt x="30" y="135"/>
                    <a:pt x="27" y="120"/>
                    <a:pt x="27" y="102"/>
                  </a:cubicBezTo>
                  <a:cubicBezTo>
                    <a:pt x="27" y="88"/>
                    <a:pt x="30" y="75"/>
                    <a:pt x="35" y="62"/>
                  </a:cubicBezTo>
                  <a:cubicBezTo>
                    <a:pt x="38" y="55"/>
                    <a:pt x="42" y="48"/>
                    <a:pt x="48" y="42"/>
                  </a:cubicBezTo>
                  <a:cubicBezTo>
                    <a:pt x="53" y="36"/>
                    <a:pt x="60" y="31"/>
                    <a:pt x="69" y="28"/>
                  </a:cubicBezTo>
                  <a:cubicBezTo>
                    <a:pt x="78" y="24"/>
                    <a:pt x="88" y="22"/>
                    <a:pt x="100" y="22"/>
                  </a:cubicBezTo>
                  <a:cubicBezTo>
                    <a:pt x="110" y="22"/>
                    <a:pt x="120" y="24"/>
                    <a:pt x="128" y="28"/>
                  </a:cubicBezTo>
                  <a:cubicBezTo>
                    <a:pt x="136" y="31"/>
                    <a:pt x="143" y="36"/>
                    <a:pt x="147" y="42"/>
                  </a:cubicBezTo>
                  <a:cubicBezTo>
                    <a:pt x="152" y="47"/>
                    <a:pt x="155" y="55"/>
                    <a:pt x="158" y="66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79" y="46"/>
                    <a:pt x="174" y="35"/>
                    <a:pt x="167" y="26"/>
                  </a:cubicBezTo>
                  <a:cubicBezTo>
                    <a:pt x="160" y="18"/>
                    <a:pt x="151" y="11"/>
                    <a:pt x="140" y="7"/>
                  </a:cubicBezTo>
                  <a:cubicBezTo>
                    <a:pt x="128" y="2"/>
                    <a:pt x="115" y="0"/>
                    <a:pt x="100" y="0"/>
                  </a:cubicBezTo>
                  <a:cubicBezTo>
                    <a:pt x="80" y="0"/>
                    <a:pt x="63" y="4"/>
                    <a:pt x="47" y="12"/>
                  </a:cubicBezTo>
                  <a:cubicBezTo>
                    <a:pt x="32" y="20"/>
                    <a:pt x="20" y="33"/>
                    <a:pt x="12" y="49"/>
                  </a:cubicBezTo>
                  <a:cubicBezTo>
                    <a:pt x="4" y="66"/>
                    <a:pt x="0" y="85"/>
                    <a:pt x="0" y="104"/>
                  </a:cubicBezTo>
                  <a:cubicBezTo>
                    <a:pt x="0" y="124"/>
                    <a:pt x="4" y="142"/>
                    <a:pt x="12" y="157"/>
                  </a:cubicBezTo>
                  <a:cubicBezTo>
                    <a:pt x="20" y="173"/>
                    <a:pt x="33" y="186"/>
                    <a:pt x="49" y="194"/>
                  </a:cubicBezTo>
                  <a:cubicBezTo>
                    <a:pt x="65" y="202"/>
                    <a:pt x="83" y="207"/>
                    <a:pt x="102" y="207"/>
                  </a:cubicBezTo>
                  <a:cubicBezTo>
                    <a:pt x="117" y="207"/>
                    <a:pt x="131" y="204"/>
                    <a:pt x="145" y="199"/>
                  </a:cubicBezTo>
                  <a:cubicBezTo>
                    <a:pt x="159" y="194"/>
                    <a:pt x="172" y="186"/>
                    <a:pt x="185" y="175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00" y="101"/>
                    <a:pt x="100" y="101"/>
                    <a:pt x="100" y="101"/>
                  </a:cubicBezTo>
                  <a:cubicBezTo>
                    <a:pt x="100" y="125"/>
                    <a:pt x="100" y="125"/>
                    <a:pt x="100" y="125"/>
                  </a:cubicBezTo>
                  <a:lnTo>
                    <a:pt x="159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/>
            <p:cNvSpPr>
              <a:spLocks noEditPoints="1"/>
            </p:cNvSpPr>
            <p:nvPr userDrawn="1"/>
          </p:nvSpPr>
          <p:spPr bwMode="black">
            <a:xfrm>
              <a:off x="6455" y="1920"/>
              <a:ext cx="416" cy="473"/>
            </a:xfrm>
            <a:custGeom>
              <a:avLst/>
              <a:gdLst>
                <a:gd name="T0" fmla="*/ 26 w 176"/>
                <a:gd name="T1" fmla="*/ 200 h 200"/>
                <a:gd name="T2" fmla="*/ 26 w 176"/>
                <a:gd name="T3" fmla="*/ 111 h 200"/>
                <a:gd name="T4" fmla="*/ 57 w 176"/>
                <a:gd name="T5" fmla="*/ 111 h 200"/>
                <a:gd name="T6" fmla="*/ 72 w 176"/>
                <a:gd name="T7" fmla="*/ 112 h 200"/>
                <a:gd name="T8" fmla="*/ 84 w 176"/>
                <a:gd name="T9" fmla="*/ 118 h 200"/>
                <a:gd name="T10" fmla="*/ 97 w 176"/>
                <a:gd name="T11" fmla="*/ 131 h 200"/>
                <a:gd name="T12" fmla="*/ 116 w 176"/>
                <a:gd name="T13" fmla="*/ 159 h 200"/>
                <a:gd name="T14" fmla="*/ 143 w 176"/>
                <a:gd name="T15" fmla="*/ 200 h 200"/>
                <a:gd name="T16" fmla="*/ 176 w 176"/>
                <a:gd name="T17" fmla="*/ 200 h 200"/>
                <a:gd name="T18" fmla="*/ 141 w 176"/>
                <a:gd name="T19" fmla="*/ 146 h 200"/>
                <a:gd name="T20" fmla="*/ 119 w 176"/>
                <a:gd name="T21" fmla="*/ 119 h 200"/>
                <a:gd name="T22" fmla="*/ 104 w 176"/>
                <a:gd name="T23" fmla="*/ 109 h 200"/>
                <a:gd name="T24" fmla="*/ 146 w 176"/>
                <a:gd name="T25" fmla="*/ 91 h 200"/>
                <a:gd name="T26" fmla="*/ 160 w 176"/>
                <a:gd name="T27" fmla="*/ 55 h 200"/>
                <a:gd name="T28" fmla="*/ 152 w 176"/>
                <a:gd name="T29" fmla="*/ 24 h 200"/>
                <a:gd name="T30" fmla="*/ 129 w 176"/>
                <a:gd name="T31" fmla="*/ 5 h 200"/>
                <a:gd name="T32" fmla="*/ 89 w 176"/>
                <a:gd name="T33" fmla="*/ 0 h 200"/>
                <a:gd name="T34" fmla="*/ 0 w 176"/>
                <a:gd name="T35" fmla="*/ 0 h 200"/>
                <a:gd name="T36" fmla="*/ 0 w 176"/>
                <a:gd name="T37" fmla="*/ 200 h 200"/>
                <a:gd name="T38" fmla="*/ 26 w 176"/>
                <a:gd name="T39" fmla="*/ 200 h 200"/>
                <a:gd name="T40" fmla="*/ 26 w 176"/>
                <a:gd name="T41" fmla="*/ 22 h 200"/>
                <a:gd name="T42" fmla="*/ 90 w 176"/>
                <a:gd name="T43" fmla="*/ 22 h 200"/>
                <a:gd name="T44" fmla="*/ 122 w 176"/>
                <a:gd name="T45" fmla="*/ 31 h 200"/>
                <a:gd name="T46" fmla="*/ 133 w 176"/>
                <a:gd name="T47" fmla="*/ 55 h 200"/>
                <a:gd name="T48" fmla="*/ 127 w 176"/>
                <a:gd name="T49" fmla="*/ 73 h 200"/>
                <a:gd name="T50" fmla="*/ 112 w 176"/>
                <a:gd name="T51" fmla="*/ 85 h 200"/>
                <a:gd name="T52" fmla="*/ 83 w 176"/>
                <a:gd name="T53" fmla="*/ 88 h 200"/>
                <a:gd name="T54" fmla="*/ 26 w 176"/>
                <a:gd name="T55" fmla="*/ 88 h 200"/>
                <a:gd name="T56" fmla="*/ 26 w 176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6" h="200">
                  <a:moveTo>
                    <a:pt x="26" y="200"/>
                  </a:moveTo>
                  <a:cubicBezTo>
                    <a:pt x="26" y="111"/>
                    <a:pt x="26" y="111"/>
                    <a:pt x="26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64" y="111"/>
                    <a:pt x="69" y="112"/>
                    <a:pt x="72" y="112"/>
                  </a:cubicBezTo>
                  <a:cubicBezTo>
                    <a:pt x="76" y="113"/>
                    <a:pt x="80" y="115"/>
                    <a:pt x="84" y="118"/>
                  </a:cubicBezTo>
                  <a:cubicBezTo>
                    <a:pt x="88" y="120"/>
                    <a:pt x="92" y="125"/>
                    <a:pt x="97" y="131"/>
                  </a:cubicBezTo>
                  <a:cubicBezTo>
                    <a:pt x="102" y="137"/>
                    <a:pt x="109" y="147"/>
                    <a:pt x="116" y="159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176" y="200"/>
                    <a:pt x="176" y="200"/>
                    <a:pt x="176" y="200"/>
                  </a:cubicBezTo>
                  <a:cubicBezTo>
                    <a:pt x="141" y="146"/>
                    <a:pt x="141" y="146"/>
                    <a:pt x="141" y="146"/>
                  </a:cubicBezTo>
                  <a:cubicBezTo>
                    <a:pt x="135" y="135"/>
                    <a:pt x="127" y="126"/>
                    <a:pt x="119" y="119"/>
                  </a:cubicBezTo>
                  <a:cubicBezTo>
                    <a:pt x="116" y="116"/>
                    <a:pt x="111" y="112"/>
                    <a:pt x="104" y="109"/>
                  </a:cubicBezTo>
                  <a:cubicBezTo>
                    <a:pt x="123" y="106"/>
                    <a:pt x="137" y="100"/>
                    <a:pt x="146" y="91"/>
                  </a:cubicBezTo>
                  <a:cubicBezTo>
                    <a:pt x="155" y="81"/>
                    <a:pt x="160" y="69"/>
                    <a:pt x="160" y="55"/>
                  </a:cubicBezTo>
                  <a:cubicBezTo>
                    <a:pt x="160" y="44"/>
                    <a:pt x="157" y="34"/>
                    <a:pt x="152" y="24"/>
                  </a:cubicBezTo>
                  <a:cubicBezTo>
                    <a:pt x="146" y="15"/>
                    <a:pt x="139" y="9"/>
                    <a:pt x="129" y="5"/>
                  </a:cubicBezTo>
                  <a:cubicBezTo>
                    <a:pt x="120" y="2"/>
                    <a:pt x="106" y="0"/>
                    <a:pt x="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  <a:moveTo>
                    <a:pt x="26" y="22"/>
                  </a:moveTo>
                  <a:cubicBezTo>
                    <a:pt x="90" y="22"/>
                    <a:pt x="90" y="22"/>
                    <a:pt x="90" y="22"/>
                  </a:cubicBezTo>
                  <a:cubicBezTo>
                    <a:pt x="105" y="22"/>
                    <a:pt x="115" y="25"/>
                    <a:pt x="122" y="31"/>
                  </a:cubicBezTo>
                  <a:cubicBezTo>
                    <a:pt x="129" y="37"/>
                    <a:pt x="133" y="45"/>
                    <a:pt x="133" y="55"/>
                  </a:cubicBezTo>
                  <a:cubicBezTo>
                    <a:pt x="133" y="61"/>
                    <a:pt x="131" y="67"/>
                    <a:pt x="127" y="73"/>
                  </a:cubicBezTo>
                  <a:cubicBezTo>
                    <a:pt x="124" y="78"/>
                    <a:pt x="119" y="82"/>
                    <a:pt x="112" y="85"/>
                  </a:cubicBezTo>
                  <a:cubicBezTo>
                    <a:pt x="105" y="87"/>
                    <a:pt x="95" y="88"/>
                    <a:pt x="83" y="88"/>
                  </a:cubicBezTo>
                  <a:cubicBezTo>
                    <a:pt x="26" y="88"/>
                    <a:pt x="26" y="88"/>
                    <a:pt x="26" y="88"/>
                  </a:cubicBezTo>
                  <a:lnTo>
                    <a:pt x="2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/>
            <p:cNvSpPr>
              <a:spLocks noEditPoints="1"/>
            </p:cNvSpPr>
            <p:nvPr userDrawn="1"/>
          </p:nvSpPr>
          <p:spPr bwMode="black">
            <a:xfrm>
              <a:off x="6873" y="1920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3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79 w 187"/>
                <a:gd name="T19" fmla="*/ 59 h 200"/>
                <a:gd name="T20" fmla="*/ 90 w 187"/>
                <a:gd name="T21" fmla="*/ 21 h 200"/>
                <a:gd name="T22" fmla="*/ 104 w 187"/>
                <a:gd name="T23" fmla="*/ 63 h 200"/>
                <a:gd name="T24" fmla="*/ 125 w 187"/>
                <a:gd name="T25" fmla="*/ 118 h 200"/>
                <a:gd name="T26" fmla="*/ 57 w 187"/>
                <a:gd name="T27" fmla="*/ 118 h 200"/>
                <a:gd name="T28" fmla="*/ 79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3" y="140"/>
                    <a:pt x="133" y="140"/>
                    <a:pt x="133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79" y="59"/>
                  </a:moveTo>
                  <a:cubicBezTo>
                    <a:pt x="84" y="47"/>
                    <a:pt x="88" y="34"/>
                    <a:pt x="90" y="21"/>
                  </a:cubicBezTo>
                  <a:cubicBezTo>
                    <a:pt x="93" y="32"/>
                    <a:pt x="98" y="46"/>
                    <a:pt x="104" y="63"/>
                  </a:cubicBezTo>
                  <a:cubicBezTo>
                    <a:pt x="125" y="118"/>
                    <a:pt x="125" y="118"/>
                    <a:pt x="125" y="118"/>
                  </a:cubicBezTo>
                  <a:cubicBezTo>
                    <a:pt x="57" y="118"/>
                    <a:pt x="57" y="118"/>
                    <a:pt x="57" y="118"/>
                  </a:cubicBezTo>
                  <a:lnTo>
                    <a:pt x="79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/>
            <p:cNvSpPr>
              <a:spLocks/>
            </p:cNvSpPr>
            <p:nvPr userDrawn="1"/>
          </p:nvSpPr>
          <p:spPr bwMode="black">
            <a:xfrm>
              <a:off x="7320" y="1920"/>
              <a:ext cx="376" cy="473"/>
            </a:xfrm>
            <a:custGeom>
              <a:avLst/>
              <a:gdLst>
                <a:gd name="T0" fmla="*/ 159 w 159"/>
                <a:gd name="T1" fmla="*/ 200 h 200"/>
                <a:gd name="T2" fmla="*/ 159 w 159"/>
                <a:gd name="T3" fmla="*/ 177 h 200"/>
                <a:gd name="T4" fmla="*/ 31 w 159"/>
                <a:gd name="T5" fmla="*/ 177 h 200"/>
                <a:gd name="T6" fmla="*/ 43 w 159"/>
                <a:gd name="T7" fmla="*/ 162 h 200"/>
                <a:gd name="T8" fmla="*/ 155 w 159"/>
                <a:gd name="T9" fmla="*/ 24 h 200"/>
                <a:gd name="T10" fmla="*/ 155 w 159"/>
                <a:gd name="T11" fmla="*/ 0 h 200"/>
                <a:gd name="T12" fmla="*/ 12 w 159"/>
                <a:gd name="T13" fmla="*/ 0 h 200"/>
                <a:gd name="T14" fmla="*/ 12 w 159"/>
                <a:gd name="T15" fmla="*/ 24 h 200"/>
                <a:gd name="T16" fmla="*/ 124 w 159"/>
                <a:gd name="T17" fmla="*/ 24 h 200"/>
                <a:gd name="T18" fmla="*/ 103 w 159"/>
                <a:gd name="T19" fmla="*/ 47 h 200"/>
                <a:gd name="T20" fmla="*/ 0 w 159"/>
                <a:gd name="T21" fmla="*/ 176 h 200"/>
                <a:gd name="T22" fmla="*/ 0 w 159"/>
                <a:gd name="T23" fmla="*/ 200 h 200"/>
                <a:gd name="T24" fmla="*/ 159 w 159"/>
                <a:gd name="T25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9" h="200">
                  <a:moveTo>
                    <a:pt x="159" y="200"/>
                  </a:moveTo>
                  <a:cubicBezTo>
                    <a:pt x="159" y="177"/>
                    <a:pt x="159" y="177"/>
                    <a:pt x="159" y="177"/>
                  </a:cubicBezTo>
                  <a:cubicBezTo>
                    <a:pt x="31" y="177"/>
                    <a:pt x="31" y="177"/>
                    <a:pt x="31" y="177"/>
                  </a:cubicBezTo>
                  <a:cubicBezTo>
                    <a:pt x="43" y="162"/>
                    <a:pt x="43" y="162"/>
                    <a:pt x="43" y="162"/>
                  </a:cubicBezTo>
                  <a:cubicBezTo>
                    <a:pt x="155" y="24"/>
                    <a:pt x="155" y="24"/>
                    <a:pt x="155" y="24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17" y="30"/>
                    <a:pt x="110" y="38"/>
                    <a:pt x="103" y="47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159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3" name="Rectangle 43"/>
            <p:cNvSpPr>
              <a:spLocks noChangeArrowheads="1"/>
            </p:cNvSpPr>
            <p:nvPr userDrawn="1"/>
          </p:nvSpPr>
          <p:spPr bwMode="black">
            <a:xfrm>
              <a:off x="7766" y="1920"/>
              <a:ext cx="62" cy="4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4" name="Freeform 44"/>
            <p:cNvSpPr>
              <a:spLocks noEditPoints="1"/>
            </p:cNvSpPr>
            <p:nvPr userDrawn="1"/>
          </p:nvSpPr>
          <p:spPr bwMode="black">
            <a:xfrm>
              <a:off x="7880" y="1920"/>
              <a:ext cx="444" cy="473"/>
            </a:xfrm>
            <a:custGeom>
              <a:avLst/>
              <a:gdLst>
                <a:gd name="T0" fmla="*/ 28 w 188"/>
                <a:gd name="T1" fmla="*/ 200 h 200"/>
                <a:gd name="T2" fmla="*/ 50 w 188"/>
                <a:gd name="T3" fmla="*/ 140 h 200"/>
                <a:gd name="T4" fmla="*/ 134 w 188"/>
                <a:gd name="T5" fmla="*/ 140 h 200"/>
                <a:gd name="T6" fmla="*/ 157 w 188"/>
                <a:gd name="T7" fmla="*/ 200 h 200"/>
                <a:gd name="T8" fmla="*/ 188 w 188"/>
                <a:gd name="T9" fmla="*/ 200 h 200"/>
                <a:gd name="T10" fmla="*/ 106 w 188"/>
                <a:gd name="T11" fmla="*/ 0 h 200"/>
                <a:gd name="T12" fmla="*/ 77 w 188"/>
                <a:gd name="T13" fmla="*/ 0 h 200"/>
                <a:gd name="T14" fmla="*/ 0 w 188"/>
                <a:gd name="T15" fmla="*/ 200 h 200"/>
                <a:gd name="T16" fmla="*/ 28 w 188"/>
                <a:gd name="T17" fmla="*/ 200 h 200"/>
                <a:gd name="T18" fmla="*/ 80 w 188"/>
                <a:gd name="T19" fmla="*/ 59 h 200"/>
                <a:gd name="T20" fmla="*/ 91 w 188"/>
                <a:gd name="T21" fmla="*/ 21 h 200"/>
                <a:gd name="T22" fmla="*/ 105 w 188"/>
                <a:gd name="T23" fmla="*/ 63 h 200"/>
                <a:gd name="T24" fmla="*/ 126 w 188"/>
                <a:gd name="T25" fmla="*/ 118 h 200"/>
                <a:gd name="T26" fmla="*/ 58 w 188"/>
                <a:gd name="T27" fmla="*/ 118 h 200"/>
                <a:gd name="T28" fmla="*/ 80 w 188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5" y="47"/>
                    <a:pt x="88" y="34"/>
                    <a:pt x="91" y="21"/>
                  </a:cubicBezTo>
                  <a:cubicBezTo>
                    <a:pt x="94" y="32"/>
                    <a:pt x="99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5" name="Freeform 45"/>
            <p:cNvSpPr>
              <a:spLocks/>
            </p:cNvSpPr>
            <p:nvPr userDrawn="1"/>
          </p:nvSpPr>
          <p:spPr bwMode="black">
            <a:xfrm>
              <a:off x="8346" y="1913"/>
              <a:ext cx="375" cy="490"/>
            </a:xfrm>
            <a:custGeom>
              <a:avLst/>
              <a:gdLst>
                <a:gd name="T0" fmla="*/ 11 w 159"/>
                <a:gd name="T1" fmla="*/ 175 h 207"/>
                <a:gd name="T2" fmla="*/ 40 w 159"/>
                <a:gd name="T3" fmla="*/ 199 h 207"/>
                <a:gd name="T4" fmla="*/ 85 w 159"/>
                <a:gd name="T5" fmla="*/ 207 h 207"/>
                <a:gd name="T6" fmla="*/ 124 w 159"/>
                <a:gd name="T7" fmla="*/ 199 h 207"/>
                <a:gd name="T8" fmla="*/ 150 w 159"/>
                <a:gd name="T9" fmla="*/ 177 h 207"/>
                <a:gd name="T10" fmla="*/ 159 w 159"/>
                <a:gd name="T11" fmla="*/ 147 h 207"/>
                <a:gd name="T12" fmla="*/ 151 w 159"/>
                <a:gd name="T13" fmla="*/ 118 h 207"/>
                <a:gd name="T14" fmla="*/ 125 w 159"/>
                <a:gd name="T15" fmla="*/ 98 h 207"/>
                <a:gd name="T16" fmla="*/ 81 w 159"/>
                <a:gd name="T17" fmla="*/ 85 h 207"/>
                <a:gd name="T18" fmla="*/ 41 w 159"/>
                <a:gd name="T19" fmla="*/ 71 h 207"/>
                <a:gd name="T20" fmla="*/ 33 w 159"/>
                <a:gd name="T21" fmla="*/ 53 h 207"/>
                <a:gd name="T22" fmla="*/ 44 w 159"/>
                <a:gd name="T23" fmla="*/ 32 h 207"/>
                <a:gd name="T24" fmla="*/ 79 w 159"/>
                <a:gd name="T25" fmla="*/ 23 h 207"/>
                <a:gd name="T26" fmla="*/ 114 w 159"/>
                <a:gd name="T27" fmla="*/ 33 h 207"/>
                <a:gd name="T28" fmla="*/ 128 w 159"/>
                <a:gd name="T29" fmla="*/ 61 h 207"/>
                <a:gd name="T30" fmla="*/ 153 w 159"/>
                <a:gd name="T31" fmla="*/ 59 h 207"/>
                <a:gd name="T32" fmla="*/ 144 w 159"/>
                <a:gd name="T33" fmla="*/ 28 h 207"/>
                <a:gd name="T34" fmla="*/ 117 w 159"/>
                <a:gd name="T35" fmla="*/ 7 h 207"/>
                <a:gd name="T36" fmla="*/ 78 w 159"/>
                <a:gd name="T37" fmla="*/ 0 h 207"/>
                <a:gd name="T38" fmla="*/ 41 w 159"/>
                <a:gd name="T39" fmla="*/ 6 h 207"/>
                <a:gd name="T40" fmla="*/ 16 w 159"/>
                <a:gd name="T41" fmla="*/ 26 h 207"/>
                <a:gd name="T42" fmla="*/ 8 w 159"/>
                <a:gd name="T43" fmla="*/ 55 h 207"/>
                <a:gd name="T44" fmla="*/ 15 w 159"/>
                <a:gd name="T45" fmla="*/ 80 h 207"/>
                <a:gd name="T46" fmla="*/ 36 w 159"/>
                <a:gd name="T47" fmla="*/ 98 h 207"/>
                <a:gd name="T48" fmla="*/ 75 w 159"/>
                <a:gd name="T49" fmla="*/ 111 h 207"/>
                <a:gd name="T50" fmla="*/ 110 w 159"/>
                <a:gd name="T51" fmla="*/ 121 h 207"/>
                <a:gd name="T52" fmla="*/ 128 w 159"/>
                <a:gd name="T53" fmla="*/ 132 h 207"/>
                <a:gd name="T54" fmla="*/ 134 w 159"/>
                <a:gd name="T55" fmla="*/ 149 h 207"/>
                <a:gd name="T56" fmla="*/ 128 w 159"/>
                <a:gd name="T57" fmla="*/ 166 h 207"/>
                <a:gd name="T58" fmla="*/ 111 w 159"/>
                <a:gd name="T59" fmla="*/ 178 h 207"/>
                <a:gd name="T60" fmla="*/ 84 w 159"/>
                <a:gd name="T61" fmla="*/ 183 h 207"/>
                <a:gd name="T62" fmla="*/ 53 w 159"/>
                <a:gd name="T63" fmla="*/ 177 h 207"/>
                <a:gd name="T64" fmla="*/ 33 w 159"/>
                <a:gd name="T65" fmla="*/ 161 h 207"/>
                <a:gd name="T66" fmla="*/ 25 w 159"/>
                <a:gd name="T67" fmla="*/ 137 h 207"/>
                <a:gd name="T68" fmla="*/ 0 w 159"/>
                <a:gd name="T69" fmla="*/ 139 h 207"/>
                <a:gd name="T70" fmla="*/ 11 w 159"/>
                <a:gd name="T71" fmla="*/ 17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9" h="207">
                  <a:moveTo>
                    <a:pt x="11" y="175"/>
                  </a:moveTo>
                  <a:cubicBezTo>
                    <a:pt x="18" y="185"/>
                    <a:pt x="28" y="193"/>
                    <a:pt x="40" y="199"/>
                  </a:cubicBezTo>
                  <a:cubicBezTo>
                    <a:pt x="52" y="204"/>
                    <a:pt x="67" y="207"/>
                    <a:pt x="85" y="207"/>
                  </a:cubicBezTo>
                  <a:cubicBezTo>
                    <a:pt x="100" y="207"/>
                    <a:pt x="113" y="204"/>
                    <a:pt x="124" y="199"/>
                  </a:cubicBezTo>
                  <a:cubicBezTo>
                    <a:pt x="135" y="194"/>
                    <a:pt x="144" y="186"/>
                    <a:pt x="150" y="177"/>
                  </a:cubicBezTo>
                  <a:cubicBezTo>
                    <a:pt x="156" y="167"/>
                    <a:pt x="159" y="157"/>
                    <a:pt x="159" y="147"/>
                  </a:cubicBezTo>
                  <a:cubicBezTo>
                    <a:pt x="159" y="136"/>
                    <a:pt x="157" y="126"/>
                    <a:pt x="151" y="118"/>
                  </a:cubicBezTo>
                  <a:cubicBezTo>
                    <a:pt x="146" y="110"/>
                    <a:pt x="137" y="103"/>
                    <a:pt x="125" y="98"/>
                  </a:cubicBezTo>
                  <a:cubicBezTo>
                    <a:pt x="117" y="94"/>
                    <a:pt x="102" y="90"/>
                    <a:pt x="81" y="85"/>
                  </a:cubicBezTo>
                  <a:cubicBezTo>
                    <a:pt x="59" y="80"/>
                    <a:pt x="46" y="75"/>
                    <a:pt x="41" y="71"/>
                  </a:cubicBezTo>
                  <a:cubicBezTo>
                    <a:pt x="36" y="66"/>
                    <a:pt x="33" y="60"/>
                    <a:pt x="33" y="53"/>
                  </a:cubicBezTo>
                  <a:cubicBezTo>
                    <a:pt x="33" y="45"/>
                    <a:pt x="37" y="38"/>
                    <a:pt x="44" y="32"/>
                  </a:cubicBezTo>
                  <a:cubicBezTo>
                    <a:pt x="52" y="26"/>
                    <a:pt x="63" y="23"/>
                    <a:pt x="79" y="23"/>
                  </a:cubicBezTo>
                  <a:cubicBezTo>
                    <a:pt x="95" y="23"/>
                    <a:pt x="106" y="26"/>
                    <a:pt x="114" y="33"/>
                  </a:cubicBezTo>
                  <a:cubicBezTo>
                    <a:pt x="122" y="39"/>
                    <a:pt x="127" y="49"/>
                    <a:pt x="128" y="61"/>
                  </a:cubicBezTo>
                  <a:cubicBezTo>
                    <a:pt x="153" y="59"/>
                    <a:pt x="153" y="59"/>
                    <a:pt x="153" y="59"/>
                  </a:cubicBezTo>
                  <a:cubicBezTo>
                    <a:pt x="153" y="48"/>
                    <a:pt x="150" y="37"/>
                    <a:pt x="144" y="28"/>
                  </a:cubicBezTo>
                  <a:cubicBezTo>
                    <a:pt x="137" y="19"/>
                    <a:pt x="129" y="12"/>
                    <a:pt x="117" y="7"/>
                  </a:cubicBezTo>
                  <a:cubicBezTo>
                    <a:pt x="106" y="2"/>
                    <a:pt x="93" y="0"/>
                    <a:pt x="78" y="0"/>
                  </a:cubicBezTo>
                  <a:cubicBezTo>
                    <a:pt x="65" y="0"/>
                    <a:pt x="52" y="2"/>
                    <a:pt x="41" y="6"/>
                  </a:cubicBezTo>
                  <a:cubicBezTo>
                    <a:pt x="30" y="11"/>
                    <a:pt x="22" y="18"/>
                    <a:pt x="16" y="26"/>
                  </a:cubicBezTo>
                  <a:cubicBezTo>
                    <a:pt x="11" y="35"/>
                    <a:pt x="8" y="45"/>
                    <a:pt x="8" y="55"/>
                  </a:cubicBezTo>
                  <a:cubicBezTo>
                    <a:pt x="8" y="64"/>
                    <a:pt x="10" y="72"/>
                    <a:pt x="15" y="80"/>
                  </a:cubicBezTo>
                  <a:cubicBezTo>
                    <a:pt x="19" y="87"/>
                    <a:pt x="27" y="93"/>
                    <a:pt x="36" y="98"/>
                  </a:cubicBezTo>
                  <a:cubicBezTo>
                    <a:pt x="43" y="102"/>
                    <a:pt x="56" y="106"/>
                    <a:pt x="75" y="111"/>
                  </a:cubicBezTo>
                  <a:cubicBezTo>
                    <a:pt x="93" y="115"/>
                    <a:pt x="105" y="118"/>
                    <a:pt x="110" y="121"/>
                  </a:cubicBezTo>
                  <a:cubicBezTo>
                    <a:pt x="119" y="124"/>
                    <a:pt x="125" y="128"/>
                    <a:pt x="128" y="132"/>
                  </a:cubicBezTo>
                  <a:cubicBezTo>
                    <a:pt x="132" y="137"/>
                    <a:pt x="134" y="143"/>
                    <a:pt x="134" y="149"/>
                  </a:cubicBezTo>
                  <a:cubicBezTo>
                    <a:pt x="134" y="155"/>
                    <a:pt x="132" y="161"/>
                    <a:pt x="128" y="166"/>
                  </a:cubicBezTo>
                  <a:cubicBezTo>
                    <a:pt x="124" y="171"/>
                    <a:pt x="119" y="175"/>
                    <a:pt x="111" y="178"/>
                  </a:cubicBezTo>
                  <a:cubicBezTo>
                    <a:pt x="103" y="181"/>
                    <a:pt x="94" y="183"/>
                    <a:pt x="84" y="183"/>
                  </a:cubicBezTo>
                  <a:cubicBezTo>
                    <a:pt x="73" y="183"/>
                    <a:pt x="63" y="181"/>
                    <a:pt x="53" y="177"/>
                  </a:cubicBezTo>
                  <a:cubicBezTo>
                    <a:pt x="44" y="173"/>
                    <a:pt x="38" y="168"/>
                    <a:pt x="33" y="161"/>
                  </a:cubicBezTo>
                  <a:cubicBezTo>
                    <a:pt x="29" y="155"/>
                    <a:pt x="26" y="147"/>
                    <a:pt x="25" y="137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52"/>
                    <a:pt x="4" y="164"/>
                    <a:pt x="11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6" name="Freeform 46"/>
            <p:cNvSpPr>
              <a:spLocks noEditPoints="1"/>
            </p:cNvSpPr>
            <p:nvPr userDrawn="1"/>
          </p:nvSpPr>
          <p:spPr bwMode="black">
            <a:xfrm>
              <a:off x="6495" y="2902"/>
              <a:ext cx="392" cy="473"/>
            </a:xfrm>
            <a:custGeom>
              <a:avLst/>
              <a:gdLst>
                <a:gd name="T0" fmla="*/ 72 w 166"/>
                <a:gd name="T1" fmla="*/ 200 h 200"/>
                <a:gd name="T2" fmla="*/ 105 w 166"/>
                <a:gd name="T3" fmla="*/ 196 h 200"/>
                <a:gd name="T4" fmla="*/ 129 w 166"/>
                <a:gd name="T5" fmla="*/ 186 h 200"/>
                <a:gd name="T6" fmla="*/ 147 w 166"/>
                <a:gd name="T7" fmla="*/ 168 h 200"/>
                <a:gd name="T8" fmla="*/ 160 w 166"/>
                <a:gd name="T9" fmla="*/ 139 h 200"/>
                <a:gd name="T10" fmla="*/ 166 w 166"/>
                <a:gd name="T11" fmla="*/ 99 h 200"/>
                <a:gd name="T12" fmla="*/ 158 w 166"/>
                <a:gd name="T13" fmla="*/ 51 h 200"/>
                <a:gd name="T14" fmla="*/ 134 w 166"/>
                <a:gd name="T15" fmla="*/ 17 h 200"/>
                <a:gd name="T16" fmla="*/ 105 w 166"/>
                <a:gd name="T17" fmla="*/ 3 h 200"/>
                <a:gd name="T18" fmla="*/ 69 w 166"/>
                <a:gd name="T19" fmla="*/ 0 h 200"/>
                <a:gd name="T20" fmla="*/ 0 w 166"/>
                <a:gd name="T21" fmla="*/ 0 h 200"/>
                <a:gd name="T22" fmla="*/ 0 w 166"/>
                <a:gd name="T23" fmla="*/ 200 h 200"/>
                <a:gd name="T24" fmla="*/ 72 w 166"/>
                <a:gd name="T25" fmla="*/ 200 h 200"/>
                <a:gd name="T26" fmla="*/ 27 w 166"/>
                <a:gd name="T27" fmla="*/ 23 h 200"/>
                <a:gd name="T28" fmla="*/ 69 w 166"/>
                <a:gd name="T29" fmla="*/ 23 h 200"/>
                <a:gd name="T30" fmla="*/ 103 w 166"/>
                <a:gd name="T31" fmla="*/ 27 h 200"/>
                <a:gd name="T32" fmla="*/ 128 w 166"/>
                <a:gd name="T33" fmla="*/ 50 h 200"/>
                <a:gd name="T34" fmla="*/ 138 w 166"/>
                <a:gd name="T35" fmla="*/ 98 h 200"/>
                <a:gd name="T36" fmla="*/ 133 w 166"/>
                <a:gd name="T37" fmla="*/ 137 h 200"/>
                <a:gd name="T38" fmla="*/ 119 w 166"/>
                <a:gd name="T39" fmla="*/ 162 h 200"/>
                <a:gd name="T40" fmla="*/ 101 w 166"/>
                <a:gd name="T41" fmla="*/ 173 h 200"/>
                <a:gd name="T42" fmla="*/ 69 w 166"/>
                <a:gd name="T43" fmla="*/ 176 h 200"/>
                <a:gd name="T44" fmla="*/ 27 w 166"/>
                <a:gd name="T45" fmla="*/ 176 h 200"/>
                <a:gd name="T46" fmla="*/ 27 w 166"/>
                <a:gd name="T47" fmla="*/ 2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0">
                  <a:moveTo>
                    <a:pt x="72" y="200"/>
                  </a:moveTo>
                  <a:cubicBezTo>
                    <a:pt x="85" y="200"/>
                    <a:pt x="95" y="199"/>
                    <a:pt x="105" y="196"/>
                  </a:cubicBezTo>
                  <a:cubicBezTo>
                    <a:pt x="114" y="194"/>
                    <a:pt x="122" y="191"/>
                    <a:pt x="129" y="186"/>
                  </a:cubicBezTo>
                  <a:cubicBezTo>
                    <a:pt x="135" y="182"/>
                    <a:pt x="141" y="176"/>
                    <a:pt x="147" y="168"/>
                  </a:cubicBezTo>
                  <a:cubicBezTo>
                    <a:pt x="152" y="161"/>
                    <a:pt x="157" y="151"/>
                    <a:pt x="160" y="139"/>
                  </a:cubicBezTo>
                  <a:cubicBezTo>
                    <a:pt x="164" y="127"/>
                    <a:pt x="166" y="114"/>
                    <a:pt x="166" y="99"/>
                  </a:cubicBezTo>
                  <a:cubicBezTo>
                    <a:pt x="166" y="81"/>
                    <a:pt x="163" y="65"/>
                    <a:pt x="158" y="51"/>
                  </a:cubicBezTo>
                  <a:cubicBezTo>
                    <a:pt x="153" y="37"/>
                    <a:pt x="145" y="26"/>
                    <a:pt x="134" y="17"/>
                  </a:cubicBezTo>
                  <a:cubicBezTo>
                    <a:pt x="126" y="10"/>
                    <a:pt x="116" y="5"/>
                    <a:pt x="105" y="3"/>
                  </a:cubicBezTo>
                  <a:cubicBezTo>
                    <a:pt x="97" y="1"/>
                    <a:pt x="85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2" y="200"/>
                  </a:lnTo>
                  <a:close/>
                  <a:moveTo>
                    <a:pt x="27" y="23"/>
                  </a:moveTo>
                  <a:cubicBezTo>
                    <a:pt x="69" y="23"/>
                    <a:pt x="69" y="23"/>
                    <a:pt x="69" y="23"/>
                  </a:cubicBezTo>
                  <a:cubicBezTo>
                    <a:pt x="85" y="23"/>
                    <a:pt x="96" y="25"/>
                    <a:pt x="103" y="27"/>
                  </a:cubicBezTo>
                  <a:cubicBezTo>
                    <a:pt x="113" y="31"/>
                    <a:pt x="121" y="39"/>
                    <a:pt x="128" y="50"/>
                  </a:cubicBezTo>
                  <a:cubicBezTo>
                    <a:pt x="135" y="61"/>
                    <a:pt x="138" y="77"/>
                    <a:pt x="138" y="98"/>
                  </a:cubicBezTo>
                  <a:cubicBezTo>
                    <a:pt x="138" y="113"/>
                    <a:pt x="137" y="126"/>
                    <a:pt x="133" y="137"/>
                  </a:cubicBezTo>
                  <a:cubicBezTo>
                    <a:pt x="130" y="147"/>
                    <a:pt x="125" y="156"/>
                    <a:pt x="119" y="162"/>
                  </a:cubicBezTo>
                  <a:cubicBezTo>
                    <a:pt x="114" y="167"/>
                    <a:pt x="108" y="170"/>
                    <a:pt x="101" y="173"/>
                  </a:cubicBezTo>
                  <a:cubicBezTo>
                    <a:pt x="93" y="175"/>
                    <a:pt x="83" y="176"/>
                    <a:pt x="69" y="176"/>
                  </a:cubicBezTo>
                  <a:cubicBezTo>
                    <a:pt x="27" y="176"/>
                    <a:pt x="27" y="176"/>
                    <a:pt x="27" y="176"/>
                  </a:cubicBezTo>
                  <a:lnTo>
                    <a:pt x="2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7" name="Freeform 47"/>
            <p:cNvSpPr>
              <a:spLocks noEditPoints="1"/>
            </p:cNvSpPr>
            <p:nvPr userDrawn="1"/>
          </p:nvSpPr>
          <p:spPr bwMode="black">
            <a:xfrm>
              <a:off x="6913" y="2902"/>
              <a:ext cx="444" cy="473"/>
            </a:xfrm>
            <a:custGeom>
              <a:avLst/>
              <a:gdLst>
                <a:gd name="T0" fmla="*/ 29 w 188"/>
                <a:gd name="T1" fmla="*/ 200 h 200"/>
                <a:gd name="T2" fmla="*/ 51 w 188"/>
                <a:gd name="T3" fmla="*/ 139 h 200"/>
                <a:gd name="T4" fmla="*/ 134 w 188"/>
                <a:gd name="T5" fmla="*/ 139 h 200"/>
                <a:gd name="T6" fmla="*/ 158 w 188"/>
                <a:gd name="T7" fmla="*/ 200 h 200"/>
                <a:gd name="T8" fmla="*/ 188 w 188"/>
                <a:gd name="T9" fmla="*/ 200 h 200"/>
                <a:gd name="T10" fmla="*/ 106 w 188"/>
                <a:gd name="T11" fmla="*/ 0 h 200"/>
                <a:gd name="T12" fmla="*/ 77 w 188"/>
                <a:gd name="T13" fmla="*/ 0 h 200"/>
                <a:gd name="T14" fmla="*/ 0 w 188"/>
                <a:gd name="T15" fmla="*/ 200 h 200"/>
                <a:gd name="T16" fmla="*/ 29 w 188"/>
                <a:gd name="T17" fmla="*/ 200 h 200"/>
                <a:gd name="T18" fmla="*/ 80 w 188"/>
                <a:gd name="T19" fmla="*/ 59 h 200"/>
                <a:gd name="T20" fmla="*/ 91 w 188"/>
                <a:gd name="T21" fmla="*/ 21 h 200"/>
                <a:gd name="T22" fmla="*/ 105 w 188"/>
                <a:gd name="T23" fmla="*/ 62 h 200"/>
                <a:gd name="T24" fmla="*/ 126 w 188"/>
                <a:gd name="T25" fmla="*/ 118 h 200"/>
                <a:gd name="T26" fmla="*/ 58 w 188"/>
                <a:gd name="T27" fmla="*/ 118 h 200"/>
                <a:gd name="T28" fmla="*/ 80 w 188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200">
                  <a:moveTo>
                    <a:pt x="29" y="200"/>
                  </a:moveTo>
                  <a:cubicBezTo>
                    <a:pt x="51" y="139"/>
                    <a:pt x="51" y="139"/>
                    <a:pt x="51" y="139"/>
                  </a:cubicBezTo>
                  <a:cubicBezTo>
                    <a:pt x="134" y="139"/>
                    <a:pt x="134" y="139"/>
                    <a:pt x="134" y="139"/>
                  </a:cubicBezTo>
                  <a:cubicBezTo>
                    <a:pt x="158" y="200"/>
                    <a:pt x="158" y="200"/>
                    <a:pt x="158" y="200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9" y="200"/>
                  </a:lnTo>
                  <a:close/>
                  <a:moveTo>
                    <a:pt x="80" y="59"/>
                  </a:moveTo>
                  <a:cubicBezTo>
                    <a:pt x="85" y="46"/>
                    <a:pt x="88" y="34"/>
                    <a:pt x="91" y="21"/>
                  </a:cubicBezTo>
                  <a:cubicBezTo>
                    <a:pt x="94" y="32"/>
                    <a:pt x="99" y="45"/>
                    <a:pt x="105" y="62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8" name="Freeform 48"/>
            <p:cNvSpPr>
              <a:spLocks/>
            </p:cNvSpPr>
            <p:nvPr userDrawn="1"/>
          </p:nvSpPr>
          <p:spPr bwMode="black">
            <a:xfrm>
              <a:off x="7400" y="2902"/>
              <a:ext cx="374" cy="473"/>
            </a:xfrm>
            <a:custGeom>
              <a:avLst/>
              <a:gdLst>
                <a:gd name="T0" fmla="*/ 59 w 374"/>
                <a:gd name="T1" fmla="*/ 473 h 473"/>
                <a:gd name="T2" fmla="*/ 59 w 374"/>
                <a:gd name="T3" fmla="*/ 102 h 473"/>
                <a:gd name="T4" fmla="*/ 307 w 374"/>
                <a:gd name="T5" fmla="*/ 473 h 473"/>
                <a:gd name="T6" fmla="*/ 374 w 374"/>
                <a:gd name="T7" fmla="*/ 473 h 473"/>
                <a:gd name="T8" fmla="*/ 374 w 374"/>
                <a:gd name="T9" fmla="*/ 0 h 473"/>
                <a:gd name="T10" fmla="*/ 312 w 374"/>
                <a:gd name="T11" fmla="*/ 0 h 473"/>
                <a:gd name="T12" fmla="*/ 312 w 374"/>
                <a:gd name="T13" fmla="*/ 371 h 473"/>
                <a:gd name="T14" fmla="*/ 64 w 374"/>
                <a:gd name="T15" fmla="*/ 0 h 473"/>
                <a:gd name="T16" fmla="*/ 0 w 374"/>
                <a:gd name="T17" fmla="*/ 0 h 473"/>
                <a:gd name="T18" fmla="*/ 0 w 374"/>
                <a:gd name="T19" fmla="*/ 473 h 473"/>
                <a:gd name="T20" fmla="*/ 59 w 374"/>
                <a:gd name="T21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" h="473">
                  <a:moveTo>
                    <a:pt x="59" y="473"/>
                  </a:moveTo>
                  <a:lnTo>
                    <a:pt x="59" y="102"/>
                  </a:lnTo>
                  <a:lnTo>
                    <a:pt x="307" y="473"/>
                  </a:lnTo>
                  <a:lnTo>
                    <a:pt x="374" y="473"/>
                  </a:lnTo>
                  <a:lnTo>
                    <a:pt x="374" y="0"/>
                  </a:lnTo>
                  <a:lnTo>
                    <a:pt x="312" y="0"/>
                  </a:lnTo>
                  <a:lnTo>
                    <a:pt x="312" y="371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59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9" name="Freeform 49"/>
            <p:cNvSpPr>
              <a:spLocks/>
            </p:cNvSpPr>
            <p:nvPr userDrawn="1"/>
          </p:nvSpPr>
          <p:spPr bwMode="black">
            <a:xfrm>
              <a:off x="7868" y="2902"/>
              <a:ext cx="392" cy="473"/>
            </a:xfrm>
            <a:custGeom>
              <a:avLst/>
              <a:gdLst>
                <a:gd name="T0" fmla="*/ 64 w 392"/>
                <a:gd name="T1" fmla="*/ 473 h 473"/>
                <a:gd name="T2" fmla="*/ 64 w 392"/>
                <a:gd name="T3" fmla="*/ 310 h 473"/>
                <a:gd name="T4" fmla="*/ 142 w 392"/>
                <a:gd name="T5" fmla="*/ 234 h 473"/>
                <a:gd name="T6" fmla="*/ 310 w 392"/>
                <a:gd name="T7" fmla="*/ 473 h 473"/>
                <a:gd name="T8" fmla="*/ 392 w 392"/>
                <a:gd name="T9" fmla="*/ 473 h 473"/>
                <a:gd name="T10" fmla="*/ 184 w 392"/>
                <a:gd name="T11" fmla="*/ 192 h 473"/>
                <a:gd name="T12" fmla="*/ 383 w 392"/>
                <a:gd name="T13" fmla="*/ 0 h 473"/>
                <a:gd name="T14" fmla="*/ 298 w 392"/>
                <a:gd name="T15" fmla="*/ 0 h 473"/>
                <a:gd name="T16" fmla="*/ 64 w 392"/>
                <a:gd name="T17" fmla="*/ 234 h 473"/>
                <a:gd name="T18" fmla="*/ 64 w 392"/>
                <a:gd name="T19" fmla="*/ 0 h 473"/>
                <a:gd name="T20" fmla="*/ 0 w 392"/>
                <a:gd name="T21" fmla="*/ 0 h 473"/>
                <a:gd name="T22" fmla="*/ 0 w 392"/>
                <a:gd name="T23" fmla="*/ 473 h 473"/>
                <a:gd name="T24" fmla="*/ 64 w 392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473">
                  <a:moveTo>
                    <a:pt x="64" y="473"/>
                  </a:moveTo>
                  <a:lnTo>
                    <a:pt x="64" y="310"/>
                  </a:lnTo>
                  <a:lnTo>
                    <a:pt x="142" y="234"/>
                  </a:lnTo>
                  <a:lnTo>
                    <a:pt x="310" y="473"/>
                  </a:lnTo>
                  <a:lnTo>
                    <a:pt x="392" y="473"/>
                  </a:lnTo>
                  <a:lnTo>
                    <a:pt x="184" y="192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4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64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0" name="Freeform 50"/>
            <p:cNvSpPr>
              <a:spLocks/>
            </p:cNvSpPr>
            <p:nvPr userDrawn="1"/>
          </p:nvSpPr>
          <p:spPr bwMode="black">
            <a:xfrm>
              <a:off x="8308" y="2902"/>
              <a:ext cx="352" cy="473"/>
            </a:xfrm>
            <a:custGeom>
              <a:avLst/>
              <a:gdLst>
                <a:gd name="T0" fmla="*/ 352 w 352"/>
                <a:gd name="T1" fmla="*/ 473 h 473"/>
                <a:gd name="T2" fmla="*/ 352 w 352"/>
                <a:gd name="T3" fmla="*/ 416 h 473"/>
                <a:gd name="T4" fmla="*/ 61 w 352"/>
                <a:gd name="T5" fmla="*/ 416 h 473"/>
                <a:gd name="T6" fmla="*/ 61 w 352"/>
                <a:gd name="T7" fmla="*/ 255 h 473"/>
                <a:gd name="T8" fmla="*/ 324 w 352"/>
                <a:gd name="T9" fmla="*/ 255 h 473"/>
                <a:gd name="T10" fmla="*/ 324 w 352"/>
                <a:gd name="T11" fmla="*/ 201 h 473"/>
                <a:gd name="T12" fmla="*/ 61 w 352"/>
                <a:gd name="T13" fmla="*/ 201 h 473"/>
                <a:gd name="T14" fmla="*/ 61 w 352"/>
                <a:gd name="T15" fmla="*/ 54 h 473"/>
                <a:gd name="T16" fmla="*/ 340 w 352"/>
                <a:gd name="T17" fmla="*/ 54 h 473"/>
                <a:gd name="T18" fmla="*/ 340 w 352"/>
                <a:gd name="T19" fmla="*/ 0 h 473"/>
                <a:gd name="T20" fmla="*/ 0 w 352"/>
                <a:gd name="T21" fmla="*/ 0 h 473"/>
                <a:gd name="T22" fmla="*/ 0 w 352"/>
                <a:gd name="T23" fmla="*/ 473 h 473"/>
                <a:gd name="T24" fmla="*/ 352 w 352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2" h="473">
                  <a:moveTo>
                    <a:pt x="352" y="473"/>
                  </a:moveTo>
                  <a:lnTo>
                    <a:pt x="352" y="416"/>
                  </a:lnTo>
                  <a:lnTo>
                    <a:pt x="61" y="416"/>
                  </a:lnTo>
                  <a:lnTo>
                    <a:pt x="61" y="255"/>
                  </a:lnTo>
                  <a:lnTo>
                    <a:pt x="324" y="255"/>
                  </a:lnTo>
                  <a:lnTo>
                    <a:pt x="324" y="201"/>
                  </a:lnTo>
                  <a:lnTo>
                    <a:pt x="61" y="201"/>
                  </a:lnTo>
                  <a:lnTo>
                    <a:pt x="61" y="54"/>
                  </a:lnTo>
                  <a:lnTo>
                    <a:pt x="340" y="54"/>
                  </a:lnTo>
                  <a:lnTo>
                    <a:pt x="340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352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Freeform 51"/>
            <p:cNvSpPr>
              <a:spLocks/>
            </p:cNvSpPr>
            <p:nvPr userDrawn="1"/>
          </p:nvSpPr>
          <p:spPr bwMode="black">
            <a:xfrm>
              <a:off x="-963" y="1037"/>
              <a:ext cx="451" cy="473"/>
            </a:xfrm>
            <a:custGeom>
              <a:avLst/>
              <a:gdLst>
                <a:gd name="T0" fmla="*/ 26 w 191"/>
                <a:gd name="T1" fmla="*/ 200 h 200"/>
                <a:gd name="T2" fmla="*/ 26 w 191"/>
                <a:gd name="T3" fmla="*/ 30 h 200"/>
                <a:gd name="T4" fmla="*/ 83 w 191"/>
                <a:gd name="T5" fmla="*/ 200 h 200"/>
                <a:gd name="T6" fmla="*/ 107 w 191"/>
                <a:gd name="T7" fmla="*/ 200 h 200"/>
                <a:gd name="T8" fmla="*/ 166 w 191"/>
                <a:gd name="T9" fmla="*/ 32 h 200"/>
                <a:gd name="T10" fmla="*/ 166 w 191"/>
                <a:gd name="T11" fmla="*/ 200 h 200"/>
                <a:gd name="T12" fmla="*/ 191 w 191"/>
                <a:gd name="T13" fmla="*/ 200 h 200"/>
                <a:gd name="T14" fmla="*/ 191 w 191"/>
                <a:gd name="T15" fmla="*/ 0 h 200"/>
                <a:gd name="T16" fmla="*/ 155 w 191"/>
                <a:gd name="T17" fmla="*/ 0 h 200"/>
                <a:gd name="T18" fmla="*/ 107 w 191"/>
                <a:gd name="T19" fmla="*/ 139 h 200"/>
                <a:gd name="T20" fmla="*/ 97 w 191"/>
                <a:gd name="T21" fmla="*/ 171 h 200"/>
                <a:gd name="T22" fmla="*/ 87 w 191"/>
                <a:gd name="T23" fmla="*/ 142 h 200"/>
                <a:gd name="T24" fmla="*/ 40 w 191"/>
                <a:gd name="T25" fmla="*/ 0 h 200"/>
                <a:gd name="T26" fmla="*/ 0 w 191"/>
                <a:gd name="T27" fmla="*/ 0 h 200"/>
                <a:gd name="T28" fmla="*/ 0 w 191"/>
                <a:gd name="T29" fmla="*/ 200 h 200"/>
                <a:gd name="T30" fmla="*/ 26 w 191"/>
                <a:gd name="T31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1" h="200">
                  <a:moveTo>
                    <a:pt x="26" y="20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83" y="200"/>
                    <a:pt x="83" y="200"/>
                    <a:pt x="83" y="200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166" y="32"/>
                    <a:pt x="166" y="32"/>
                    <a:pt x="166" y="32"/>
                  </a:cubicBezTo>
                  <a:cubicBezTo>
                    <a:pt x="166" y="200"/>
                    <a:pt x="166" y="200"/>
                    <a:pt x="166" y="200"/>
                  </a:cubicBezTo>
                  <a:cubicBezTo>
                    <a:pt x="191" y="200"/>
                    <a:pt x="191" y="200"/>
                    <a:pt x="191" y="20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07" y="139"/>
                    <a:pt x="107" y="139"/>
                    <a:pt x="107" y="139"/>
                  </a:cubicBezTo>
                  <a:cubicBezTo>
                    <a:pt x="103" y="153"/>
                    <a:pt x="99" y="164"/>
                    <a:pt x="97" y="171"/>
                  </a:cubicBezTo>
                  <a:cubicBezTo>
                    <a:pt x="95" y="165"/>
                    <a:pt x="92" y="155"/>
                    <a:pt x="87" y="142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2" name="Freeform 52"/>
            <p:cNvSpPr>
              <a:spLocks/>
            </p:cNvSpPr>
            <p:nvPr userDrawn="1"/>
          </p:nvSpPr>
          <p:spPr bwMode="black">
            <a:xfrm>
              <a:off x="-415" y="1037"/>
              <a:ext cx="352" cy="473"/>
            </a:xfrm>
            <a:custGeom>
              <a:avLst/>
              <a:gdLst>
                <a:gd name="T0" fmla="*/ 352 w 352"/>
                <a:gd name="T1" fmla="*/ 473 h 473"/>
                <a:gd name="T2" fmla="*/ 352 w 352"/>
                <a:gd name="T3" fmla="*/ 417 h 473"/>
                <a:gd name="T4" fmla="*/ 62 w 352"/>
                <a:gd name="T5" fmla="*/ 417 h 473"/>
                <a:gd name="T6" fmla="*/ 62 w 352"/>
                <a:gd name="T7" fmla="*/ 256 h 473"/>
                <a:gd name="T8" fmla="*/ 324 w 352"/>
                <a:gd name="T9" fmla="*/ 256 h 473"/>
                <a:gd name="T10" fmla="*/ 324 w 352"/>
                <a:gd name="T11" fmla="*/ 201 h 473"/>
                <a:gd name="T12" fmla="*/ 62 w 352"/>
                <a:gd name="T13" fmla="*/ 201 h 473"/>
                <a:gd name="T14" fmla="*/ 62 w 352"/>
                <a:gd name="T15" fmla="*/ 54 h 473"/>
                <a:gd name="T16" fmla="*/ 341 w 352"/>
                <a:gd name="T17" fmla="*/ 54 h 473"/>
                <a:gd name="T18" fmla="*/ 341 w 352"/>
                <a:gd name="T19" fmla="*/ 0 h 473"/>
                <a:gd name="T20" fmla="*/ 0 w 352"/>
                <a:gd name="T21" fmla="*/ 0 h 473"/>
                <a:gd name="T22" fmla="*/ 0 w 352"/>
                <a:gd name="T23" fmla="*/ 473 h 473"/>
                <a:gd name="T24" fmla="*/ 352 w 352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2" h="473">
                  <a:moveTo>
                    <a:pt x="352" y="473"/>
                  </a:moveTo>
                  <a:lnTo>
                    <a:pt x="352" y="417"/>
                  </a:lnTo>
                  <a:lnTo>
                    <a:pt x="62" y="417"/>
                  </a:lnTo>
                  <a:lnTo>
                    <a:pt x="62" y="256"/>
                  </a:lnTo>
                  <a:lnTo>
                    <a:pt x="324" y="256"/>
                  </a:lnTo>
                  <a:lnTo>
                    <a:pt x="324" y="201"/>
                  </a:lnTo>
                  <a:lnTo>
                    <a:pt x="62" y="201"/>
                  </a:lnTo>
                  <a:lnTo>
                    <a:pt x="62" y="54"/>
                  </a:lnTo>
                  <a:lnTo>
                    <a:pt x="341" y="54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352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3" name="Freeform 53"/>
            <p:cNvSpPr>
              <a:spLocks noEditPoints="1"/>
            </p:cNvSpPr>
            <p:nvPr userDrawn="1"/>
          </p:nvSpPr>
          <p:spPr bwMode="black">
            <a:xfrm>
              <a:off x="18" y="1037"/>
              <a:ext cx="418" cy="473"/>
            </a:xfrm>
            <a:custGeom>
              <a:avLst/>
              <a:gdLst>
                <a:gd name="T0" fmla="*/ 27 w 177"/>
                <a:gd name="T1" fmla="*/ 200 h 200"/>
                <a:gd name="T2" fmla="*/ 27 w 177"/>
                <a:gd name="T3" fmla="*/ 111 h 200"/>
                <a:gd name="T4" fmla="*/ 57 w 177"/>
                <a:gd name="T5" fmla="*/ 111 h 200"/>
                <a:gd name="T6" fmla="*/ 72 w 177"/>
                <a:gd name="T7" fmla="*/ 112 h 200"/>
                <a:gd name="T8" fmla="*/ 84 w 177"/>
                <a:gd name="T9" fmla="*/ 117 h 200"/>
                <a:gd name="T10" fmla="*/ 98 w 177"/>
                <a:gd name="T11" fmla="*/ 131 h 200"/>
                <a:gd name="T12" fmla="*/ 117 w 177"/>
                <a:gd name="T13" fmla="*/ 158 h 200"/>
                <a:gd name="T14" fmla="*/ 143 w 177"/>
                <a:gd name="T15" fmla="*/ 200 h 200"/>
                <a:gd name="T16" fmla="*/ 177 w 177"/>
                <a:gd name="T17" fmla="*/ 200 h 200"/>
                <a:gd name="T18" fmla="*/ 142 w 177"/>
                <a:gd name="T19" fmla="*/ 145 h 200"/>
                <a:gd name="T20" fmla="*/ 120 w 177"/>
                <a:gd name="T21" fmla="*/ 119 h 200"/>
                <a:gd name="T22" fmla="*/ 104 w 177"/>
                <a:gd name="T23" fmla="*/ 109 h 200"/>
                <a:gd name="T24" fmla="*/ 146 w 177"/>
                <a:gd name="T25" fmla="*/ 90 h 200"/>
                <a:gd name="T26" fmla="*/ 160 w 177"/>
                <a:gd name="T27" fmla="*/ 54 h 200"/>
                <a:gd name="T28" fmla="*/ 152 w 177"/>
                <a:gd name="T29" fmla="*/ 24 h 200"/>
                <a:gd name="T30" fmla="*/ 130 w 177"/>
                <a:gd name="T31" fmla="*/ 5 h 200"/>
                <a:gd name="T32" fmla="*/ 89 w 177"/>
                <a:gd name="T33" fmla="*/ 0 h 200"/>
                <a:gd name="T34" fmla="*/ 0 w 177"/>
                <a:gd name="T35" fmla="*/ 0 h 200"/>
                <a:gd name="T36" fmla="*/ 0 w 177"/>
                <a:gd name="T37" fmla="*/ 200 h 200"/>
                <a:gd name="T38" fmla="*/ 27 w 177"/>
                <a:gd name="T39" fmla="*/ 200 h 200"/>
                <a:gd name="T40" fmla="*/ 27 w 177"/>
                <a:gd name="T41" fmla="*/ 22 h 200"/>
                <a:gd name="T42" fmla="*/ 90 w 177"/>
                <a:gd name="T43" fmla="*/ 22 h 200"/>
                <a:gd name="T44" fmla="*/ 123 w 177"/>
                <a:gd name="T45" fmla="*/ 31 h 200"/>
                <a:gd name="T46" fmla="*/ 133 w 177"/>
                <a:gd name="T47" fmla="*/ 54 h 200"/>
                <a:gd name="T48" fmla="*/ 128 w 177"/>
                <a:gd name="T49" fmla="*/ 72 h 200"/>
                <a:gd name="T50" fmla="*/ 112 w 177"/>
                <a:gd name="T51" fmla="*/ 84 h 200"/>
                <a:gd name="T52" fmla="*/ 84 w 177"/>
                <a:gd name="T53" fmla="*/ 88 h 200"/>
                <a:gd name="T54" fmla="*/ 27 w 177"/>
                <a:gd name="T55" fmla="*/ 88 h 200"/>
                <a:gd name="T56" fmla="*/ 27 w 177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" h="200">
                  <a:moveTo>
                    <a:pt x="27" y="200"/>
                  </a:moveTo>
                  <a:cubicBezTo>
                    <a:pt x="27" y="111"/>
                    <a:pt x="27" y="111"/>
                    <a:pt x="27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64" y="111"/>
                    <a:pt x="69" y="111"/>
                    <a:pt x="72" y="112"/>
                  </a:cubicBezTo>
                  <a:cubicBezTo>
                    <a:pt x="76" y="113"/>
                    <a:pt x="80" y="115"/>
                    <a:pt x="84" y="117"/>
                  </a:cubicBezTo>
                  <a:cubicBezTo>
                    <a:pt x="88" y="120"/>
                    <a:pt x="93" y="124"/>
                    <a:pt x="98" y="131"/>
                  </a:cubicBezTo>
                  <a:cubicBezTo>
                    <a:pt x="103" y="137"/>
                    <a:pt x="109" y="146"/>
                    <a:pt x="117" y="158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177" y="200"/>
                    <a:pt x="177" y="200"/>
                    <a:pt x="177" y="200"/>
                  </a:cubicBezTo>
                  <a:cubicBezTo>
                    <a:pt x="142" y="145"/>
                    <a:pt x="142" y="145"/>
                    <a:pt x="142" y="145"/>
                  </a:cubicBezTo>
                  <a:cubicBezTo>
                    <a:pt x="135" y="135"/>
                    <a:pt x="128" y="126"/>
                    <a:pt x="120" y="119"/>
                  </a:cubicBezTo>
                  <a:cubicBezTo>
                    <a:pt x="116" y="116"/>
                    <a:pt x="111" y="112"/>
                    <a:pt x="104" y="109"/>
                  </a:cubicBezTo>
                  <a:cubicBezTo>
                    <a:pt x="123" y="106"/>
                    <a:pt x="137" y="100"/>
                    <a:pt x="146" y="90"/>
                  </a:cubicBezTo>
                  <a:cubicBezTo>
                    <a:pt x="156" y="81"/>
                    <a:pt x="160" y="69"/>
                    <a:pt x="160" y="54"/>
                  </a:cubicBezTo>
                  <a:cubicBezTo>
                    <a:pt x="160" y="43"/>
                    <a:pt x="157" y="33"/>
                    <a:pt x="152" y="24"/>
                  </a:cubicBezTo>
                  <a:cubicBezTo>
                    <a:pt x="146" y="15"/>
                    <a:pt x="139" y="9"/>
                    <a:pt x="130" y="5"/>
                  </a:cubicBezTo>
                  <a:cubicBezTo>
                    <a:pt x="120" y="2"/>
                    <a:pt x="107" y="0"/>
                    <a:pt x="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7" y="200"/>
                  </a:lnTo>
                  <a:close/>
                  <a:moveTo>
                    <a:pt x="27" y="22"/>
                  </a:moveTo>
                  <a:cubicBezTo>
                    <a:pt x="90" y="22"/>
                    <a:pt x="90" y="22"/>
                    <a:pt x="90" y="22"/>
                  </a:cubicBezTo>
                  <a:cubicBezTo>
                    <a:pt x="105" y="22"/>
                    <a:pt x="116" y="25"/>
                    <a:pt x="123" y="31"/>
                  </a:cubicBezTo>
                  <a:cubicBezTo>
                    <a:pt x="129" y="37"/>
                    <a:pt x="133" y="45"/>
                    <a:pt x="133" y="54"/>
                  </a:cubicBezTo>
                  <a:cubicBezTo>
                    <a:pt x="133" y="61"/>
                    <a:pt x="131" y="67"/>
                    <a:pt x="128" y="72"/>
                  </a:cubicBezTo>
                  <a:cubicBezTo>
                    <a:pt x="124" y="78"/>
                    <a:pt x="119" y="82"/>
                    <a:pt x="112" y="84"/>
                  </a:cubicBezTo>
                  <a:cubicBezTo>
                    <a:pt x="105" y="87"/>
                    <a:pt x="96" y="88"/>
                    <a:pt x="84" y="88"/>
                  </a:cubicBezTo>
                  <a:cubicBezTo>
                    <a:pt x="27" y="88"/>
                    <a:pt x="27" y="88"/>
                    <a:pt x="27" y="88"/>
                  </a:cubicBezTo>
                  <a:lnTo>
                    <a:pt x="27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4" name="Freeform 54"/>
            <p:cNvSpPr>
              <a:spLocks/>
            </p:cNvSpPr>
            <p:nvPr userDrawn="1"/>
          </p:nvSpPr>
          <p:spPr bwMode="black">
            <a:xfrm>
              <a:off x="469" y="1028"/>
              <a:ext cx="419" cy="489"/>
            </a:xfrm>
            <a:custGeom>
              <a:avLst/>
              <a:gdLst>
                <a:gd name="T0" fmla="*/ 130 w 177"/>
                <a:gd name="T1" fmla="*/ 172 h 207"/>
                <a:gd name="T2" fmla="*/ 92 w 177"/>
                <a:gd name="T3" fmla="*/ 185 h 207"/>
                <a:gd name="T4" fmla="*/ 58 w 177"/>
                <a:gd name="T5" fmla="*/ 175 h 207"/>
                <a:gd name="T6" fmla="*/ 35 w 177"/>
                <a:gd name="T7" fmla="*/ 147 h 207"/>
                <a:gd name="T8" fmla="*/ 28 w 177"/>
                <a:gd name="T9" fmla="*/ 102 h 207"/>
                <a:gd name="T10" fmla="*/ 34 w 177"/>
                <a:gd name="T11" fmla="*/ 64 h 207"/>
                <a:gd name="T12" fmla="*/ 56 w 177"/>
                <a:gd name="T13" fmla="*/ 34 h 207"/>
                <a:gd name="T14" fmla="*/ 94 w 177"/>
                <a:gd name="T15" fmla="*/ 23 h 207"/>
                <a:gd name="T16" fmla="*/ 128 w 177"/>
                <a:gd name="T17" fmla="*/ 33 h 207"/>
                <a:gd name="T18" fmla="*/ 148 w 177"/>
                <a:gd name="T19" fmla="*/ 65 h 207"/>
                <a:gd name="T20" fmla="*/ 174 w 177"/>
                <a:gd name="T21" fmla="*/ 59 h 207"/>
                <a:gd name="T22" fmla="*/ 145 w 177"/>
                <a:gd name="T23" fmla="*/ 16 h 207"/>
                <a:gd name="T24" fmla="*/ 95 w 177"/>
                <a:gd name="T25" fmla="*/ 0 h 207"/>
                <a:gd name="T26" fmla="*/ 46 w 177"/>
                <a:gd name="T27" fmla="*/ 12 h 207"/>
                <a:gd name="T28" fmla="*/ 12 w 177"/>
                <a:gd name="T29" fmla="*/ 48 h 207"/>
                <a:gd name="T30" fmla="*/ 0 w 177"/>
                <a:gd name="T31" fmla="*/ 102 h 207"/>
                <a:gd name="T32" fmla="*/ 11 w 177"/>
                <a:gd name="T33" fmla="*/ 156 h 207"/>
                <a:gd name="T34" fmla="*/ 42 w 177"/>
                <a:gd name="T35" fmla="*/ 194 h 207"/>
                <a:gd name="T36" fmla="*/ 94 w 177"/>
                <a:gd name="T37" fmla="*/ 207 h 207"/>
                <a:gd name="T38" fmla="*/ 147 w 177"/>
                <a:gd name="T39" fmla="*/ 190 h 207"/>
                <a:gd name="T40" fmla="*/ 177 w 177"/>
                <a:gd name="T41" fmla="*/ 140 h 207"/>
                <a:gd name="T42" fmla="*/ 151 w 177"/>
                <a:gd name="T43" fmla="*/ 134 h 207"/>
                <a:gd name="T44" fmla="*/ 130 w 177"/>
                <a:gd name="T45" fmla="*/ 172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7" h="207">
                  <a:moveTo>
                    <a:pt x="130" y="172"/>
                  </a:moveTo>
                  <a:cubicBezTo>
                    <a:pt x="120" y="180"/>
                    <a:pt x="107" y="185"/>
                    <a:pt x="92" y="185"/>
                  </a:cubicBezTo>
                  <a:cubicBezTo>
                    <a:pt x="80" y="185"/>
                    <a:pt x="69" y="182"/>
                    <a:pt x="58" y="175"/>
                  </a:cubicBezTo>
                  <a:cubicBezTo>
                    <a:pt x="48" y="169"/>
                    <a:pt x="40" y="159"/>
                    <a:pt x="35" y="147"/>
                  </a:cubicBezTo>
                  <a:cubicBezTo>
                    <a:pt x="30" y="134"/>
                    <a:pt x="28" y="119"/>
                    <a:pt x="28" y="102"/>
                  </a:cubicBezTo>
                  <a:cubicBezTo>
                    <a:pt x="28" y="89"/>
                    <a:pt x="30" y="76"/>
                    <a:pt x="34" y="64"/>
                  </a:cubicBezTo>
                  <a:cubicBezTo>
                    <a:pt x="38" y="51"/>
                    <a:pt x="45" y="41"/>
                    <a:pt x="56" y="34"/>
                  </a:cubicBezTo>
                  <a:cubicBezTo>
                    <a:pt x="66" y="27"/>
                    <a:pt x="79" y="23"/>
                    <a:pt x="94" y="23"/>
                  </a:cubicBezTo>
                  <a:cubicBezTo>
                    <a:pt x="108" y="23"/>
                    <a:pt x="119" y="26"/>
                    <a:pt x="128" y="33"/>
                  </a:cubicBezTo>
                  <a:cubicBezTo>
                    <a:pt x="136" y="40"/>
                    <a:pt x="143" y="50"/>
                    <a:pt x="148" y="65"/>
                  </a:cubicBezTo>
                  <a:cubicBezTo>
                    <a:pt x="174" y="59"/>
                    <a:pt x="174" y="59"/>
                    <a:pt x="174" y="59"/>
                  </a:cubicBezTo>
                  <a:cubicBezTo>
                    <a:pt x="168" y="40"/>
                    <a:pt x="159" y="26"/>
                    <a:pt x="145" y="16"/>
                  </a:cubicBezTo>
                  <a:cubicBezTo>
                    <a:pt x="132" y="5"/>
                    <a:pt x="115" y="0"/>
                    <a:pt x="95" y="0"/>
                  </a:cubicBezTo>
                  <a:cubicBezTo>
                    <a:pt x="77" y="0"/>
                    <a:pt x="61" y="4"/>
                    <a:pt x="46" y="12"/>
                  </a:cubicBezTo>
                  <a:cubicBezTo>
                    <a:pt x="32" y="20"/>
                    <a:pt x="20" y="32"/>
                    <a:pt x="12" y="48"/>
                  </a:cubicBezTo>
                  <a:cubicBezTo>
                    <a:pt x="4" y="63"/>
                    <a:pt x="0" y="82"/>
                    <a:pt x="0" y="102"/>
                  </a:cubicBezTo>
                  <a:cubicBezTo>
                    <a:pt x="0" y="121"/>
                    <a:pt x="4" y="139"/>
                    <a:pt x="11" y="156"/>
                  </a:cubicBezTo>
                  <a:cubicBezTo>
                    <a:pt x="18" y="173"/>
                    <a:pt x="28" y="185"/>
                    <a:pt x="42" y="194"/>
                  </a:cubicBezTo>
                  <a:cubicBezTo>
                    <a:pt x="55" y="203"/>
                    <a:pt x="73" y="207"/>
                    <a:pt x="94" y="207"/>
                  </a:cubicBezTo>
                  <a:cubicBezTo>
                    <a:pt x="115" y="207"/>
                    <a:pt x="133" y="202"/>
                    <a:pt x="147" y="190"/>
                  </a:cubicBezTo>
                  <a:cubicBezTo>
                    <a:pt x="162" y="179"/>
                    <a:pt x="172" y="162"/>
                    <a:pt x="177" y="140"/>
                  </a:cubicBezTo>
                  <a:cubicBezTo>
                    <a:pt x="151" y="134"/>
                    <a:pt x="151" y="134"/>
                    <a:pt x="151" y="134"/>
                  </a:cubicBezTo>
                  <a:cubicBezTo>
                    <a:pt x="147" y="151"/>
                    <a:pt x="140" y="163"/>
                    <a:pt x="130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5" name="Rectangle 55"/>
            <p:cNvSpPr>
              <a:spLocks noChangeArrowheads="1"/>
            </p:cNvSpPr>
            <p:nvPr userDrawn="1"/>
          </p:nvSpPr>
          <p:spPr bwMode="black">
            <a:xfrm>
              <a:off x="970" y="1037"/>
              <a:ext cx="62" cy="4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6" name="Freeform 56"/>
            <p:cNvSpPr>
              <a:spLocks noEditPoints="1"/>
            </p:cNvSpPr>
            <p:nvPr userDrawn="1"/>
          </p:nvSpPr>
          <p:spPr bwMode="black">
            <a:xfrm>
              <a:off x="-973" y="74"/>
              <a:ext cx="393" cy="473"/>
            </a:xfrm>
            <a:custGeom>
              <a:avLst/>
              <a:gdLst>
                <a:gd name="T0" fmla="*/ 72 w 166"/>
                <a:gd name="T1" fmla="*/ 200 h 200"/>
                <a:gd name="T2" fmla="*/ 105 w 166"/>
                <a:gd name="T3" fmla="*/ 197 h 200"/>
                <a:gd name="T4" fmla="*/ 129 w 166"/>
                <a:gd name="T5" fmla="*/ 187 h 200"/>
                <a:gd name="T6" fmla="*/ 147 w 166"/>
                <a:gd name="T7" fmla="*/ 169 h 200"/>
                <a:gd name="T8" fmla="*/ 160 w 166"/>
                <a:gd name="T9" fmla="*/ 140 h 200"/>
                <a:gd name="T10" fmla="*/ 166 w 166"/>
                <a:gd name="T11" fmla="*/ 99 h 200"/>
                <a:gd name="T12" fmla="*/ 158 w 166"/>
                <a:gd name="T13" fmla="*/ 52 h 200"/>
                <a:gd name="T14" fmla="*/ 134 w 166"/>
                <a:gd name="T15" fmla="*/ 17 h 200"/>
                <a:gd name="T16" fmla="*/ 105 w 166"/>
                <a:gd name="T17" fmla="*/ 3 h 200"/>
                <a:gd name="T18" fmla="*/ 69 w 166"/>
                <a:gd name="T19" fmla="*/ 0 h 200"/>
                <a:gd name="T20" fmla="*/ 0 w 166"/>
                <a:gd name="T21" fmla="*/ 0 h 200"/>
                <a:gd name="T22" fmla="*/ 0 w 166"/>
                <a:gd name="T23" fmla="*/ 200 h 200"/>
                <a:gd name="T24" fmla="*/ 72 w 166"/>
                <a:gd name="T25" fmla="*/ 200 h 200"/>
                <a:gd name="T26" fmla="*/ 27 w 166"/>
                <a:gd name="T27" fmla="*/ 24 h 200"/>
                <a:gd name="T28" fmla="*/ 69 w 166"/>
                <a:gd name="T29" fmla="*/ 24 h 200"/>
                <a:gd name="T30" fmla="*/ 103 w 166"/>
                <a:gd name="T31" fmla="*/ 28 h 200"/>
                <a:gd name="T32" fmla="*/ 128 w 166"/>
                <a:gd name="T33" fmla="*/ 51 h 200"/>
                <a:gd name="T34" fmla="*/ 138 w 166"/>
                <a:gd name="T35" fmla="*/ 99 h 200"/>
                <a:gd name="T36" fmla="*/ 133 w 166"/>
                <a:gd name="T37" fmla="*/ 137 h 200"/>
                <a:gd name="T38" fmla="*/ 118 w 166"/>
                <a:gd name="T39" fmla="*/ 163 h 200"/>
                <a:gd name="T40" fmla="*/ 101 w 166"/>
                <a:gd name="T41" fmla="*/ 173 h 200"/>
                <a:gd name="T42" fmla="*/ 69 w 166"/>
                <a:gd name="T43" fmla="*/ 177 h 200"/>
                <a:gd name="T44" fmla="*/ 27 w 166"/>
                <a:gd name="T45" fmla="*/ 177 h 200"/>
                <a:gd name="T46" fmla="*/ 27 w 166"/>
                <a:gd name="T47" fmla="*/ 2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0">
                  <a:moveTo>
                    <a:pt x="72" y="200"/>
                  </a:moveTo>
                  <a:cubicBezTo>
                    <a:pt x="85" y="200"/>
                    <a:pt x="95" y="199"/>
                    <a:pt x="105" y="197"/>
                  </a:cubicBezTo>
                  <a:cubicBezTo>
                    <a:pt x="114" y="195"/>
                    <a:pt x="122" y="191"/>
                    <a:pt x="129" y="187"/>
                  </a:cubicBezTo>
                  <a:cubicBezTo>
                    <a:pt x="135" y="183"/>
                    <a:pt x="141" y="176"/>
                    <a:pt x="147" y="169"/>
                  </a:cubicBezTo>
                  <a:cubicBezTo>
                    <a:pt x="152" y="161"/>
                    <a:pt x="157" y="151"/>
                    <a:pt x="160" y="140"/>
                  </a:cubicBezTo>
                  <a:cubicBezTo>
                    <a:pt x="164" y="128"/>
                    <a:pt x="166" y="114"/>
                    <a:pt x="166" y="99"/>
                  </a:cubicBezTo>
                  <a:cubicBezTo>
                    <a:pt x="166" y="81"/>
                    <a:pt x="163" y="66"/>
                    <a:pt x="158" y="52"/>
                  </a:cubicBezTo>
                  <a:cubicBezTo>
                    <a:pt x="153" y="38"/>
                    <a:pt x="145" y="26"/>
                    <a:pt x="134" y="17"/>
                  </a:cubicBezTo>
                  <a:cubicBezTo>
                    <a:pt x="126" y="11"/>
                    <a:pt x="116" y="6"/>
                    <a:pt x="105" y="3"/>
                  </a:cubicBezTo>
                  <a:cubicBezTo>
                    <a:pt x="97" y="1"/>
                    <a:pt x="85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2" y="200"/>
                  </a:lnTo>
                  <a:close/>
                  <a:moveTo>
                    <a:pt x="27" y="24"/>
                  </a:moveTo>
                  <a:cubicBezTo>
                    <a:pt x="69" y="24"/>
                    <a:pt x="69" y="24"/>
                    <a:pt x="69" y="24"/>
                  </a:cubicBezTo>
                  <a:cubicBezTo>
                    <a:pt x="85" y="24"/>
                    <a:pt x="96" y="25"/>
                    <a:pt x="103" y="28"/>
                  </a:cubicBezTo>
                  <a:cubicBezTo>
                    <a:pt x="113" y="32"/>
                    <a:pt x="121" y="39"/>
                    <a:pt x="128" y="51"/>
                  </a:cubicBezTo>
                  <a:cubicBezTo>
                    <a:pt x="135" y="62"/>
                    <a:pt x="138" y="78"/>
                    <a:pt x="138" y="99"/>
                  </a:cubicBezTo>
                  <a:cubicBezTo>
                    <a:pt x="138" y="114"/>
                    <a:pt x="137" y="127"/>
                    <a:pt x="133" y="137"/>
                  </a:cubicBezTo>
                  <a:cubicBezTo>
                    <a:pt x="130" y="148"/>
                    <a:pt x="125" y="156"/>
                    <a:pt x="118" y="163"/>
                  </a:cubicBezTo>
                  <a:cubicBezTo>
                    <a:pt x="114" y="167"/>
                    <a:pt x="108" y="171"/>
                    <a:pt x="101" y="173"/>
                  </a:cubicBezTo>
                  <a:cubicBezTo>
                    <a:pt x="93" y="176"/>
                    <a:pt x="83" y="177"/>
                    <a:pt x="69" y="177"/>
                  </a:cubicBezTo>
                  <a:cubicBezTo>
                    <a:pt x="27" y="177"/>
                    <a:pt x="27" y="177"/>
                    <a:pt x="27" y="177"/>
                  </a:cubicBezTo>
                  <a:lnTo>
                    <a:pt x="27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7" name="Freeform 57"/>
            <p:cNvSpPr>
              <a:spLocks noEditPoints="1"/>
            </p:cNvSpPr>
            <p:nvPr userDrawn="1"/>
          </p:nvSpPr>
          <p:spPr bwMode="black">
            <a:xfrm>
              <a:off x="-554" y="74"/>
              <a:ext cx="444" cy="473"/>
            </a:xfrm>
            <a:custGeom>
              <a:avLst/>
              <a:gdLst>
                <a:gd name="T0" fmla="*/ 29 w 188"/>
                <a:gd name="T1" fmla="*/ 200 h 200"/>
                <a:gd name="T2" fmla="*/ 51 w 188"/>
                <a:gd name="T3" fmla="*/ 140 h 200"/>
                <a:gd name="T4" fmla="*/ 134 w 188"/>
                <a:gd name="T5" fmla="*/ 140 h 200"/>
                <a:gd name="T6" fmla="*/ 158 w 188"/>
                <a:gd name="T7" fmla="*/ 200 h 200"/>
                <a:gd name="T8" fmla="*/ 188 w 188"/>
                <a:gd name="T9" fmla="*/ 200 h 200"/>
                <a:gd name="T10" fmla="*/ 106 w 188"/>
                <a:gd name="T11" fmla="*/ 0 h 200"/>
                <a:gd name="T12" fmla="*/ 77 w 188"/>
                <a:gd name="T13" fmla="*/ 0 h 200"/>
                <a:gd name="T14" fmla="*/ 0 w 188"/>
                <a:gd name="T15" fmla="*/ 200 h 200"/>
                <a:gd name="T16" fmla="*/ 29 w 188"/>
                <a:gd name="T17" fmla="*/ 200 h 200"/>
                <a:gd name="T18" fmla="*/ 80 w 188"/>
                <a:gd name="T19" fmla="*/ 59 h 200"/>
                <a:gd name="T20" fmla="*/ 91 w 188"/>
                <a:gd name="T21" fmla="*/ 21 h 200"/>
                <a:gd name="T22" fmla="*/ 105 w 188"/>
                <a:gd name="T23" fmla="*/ 63 h 200"/>
                <a:gd name="T24" fmla="*/ 126 w 188"/>
                <a:gd name="T25" fmla="*/ 118 h 200"/>
                <a:gd name="T26" fmla="*/ 58 w 188"/>
                <a:gd name="T27" fmla="*/ 118 h 200"/>
                <a:gd name="T28" fmla="*/ 80 w 188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200">
                  <a:moveTo>
                    <a:pt x="29" y="200"/>
                  </a:moveTo>
                  <a:cubicBezTo>
                    <a:pt x="51" y="140"/>
                    <a:pt x="51" y="140"/>
                    <a:pt x="51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8" y="200"/>
                    <a:pt x="158" y="200"/>
                    <a:pt x="158" y="200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9" y="200"/>
                  </a:lnTo>
                  <a:close/>
                  <a:moveTo>
                    <a:pt x="80" y="59"/>
                  </a:moveTo>
                  <a:cubicBezTo>
                    <a:pt x="85" y="47"/>
                    <a:pt x="88" y="34"/>
                    <a:pt x="91" y="21"/>
                  </a:cubicBezTo>
                  <a:cubicBezTo>
                    <a:pt x="94" y="32"/>
                    <a:pt x="99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8" name="Freeform 58"/>
            <p:cNvSpPr>
              <a:spLocks/>
            </p:cNvSpPr>
            <p:nvPr userDrawn="1"/>
          </p:nvSpPr>
          <p:spPr bwMode="black">
            <a:xfrm>
              <a:off x="-70" y="74"/>
              <a:ext cx="393" cy="473"/>
            </a:xfrm>
            <a:custGeom>
              <a:avLst/>
              <a:gdLst>
                <a:gd name="T0" fmla="*/ 64 w 393"/>
                <a:gd name="T1" fmla="*/ 473 h 473"/>
                <a:gd name="T2" fmla="*/ 64 w 393"/>
                <a:gd name="T3" fmla="*/ 310 h 473"/>
                <a:gd name="T4" fmla="*/ 140 w 393"/>
                <a:gd name="T5" fmla="*/ 234 h 473"/>
                <a:gd name="T6" fmla="*/ 310 w 393"/>
                <a:gd name="T7" fmla="*/ 473 h 473"/>
                <a:gd name="T8" fmla="*/ 393 w 393"/>
                <a:gd name="T9" fmla="*/ 473 h 473"/>
                <a:gd name="T10" fmla="*/ 185 w 393"/>
                <a:gd name="T11" fmla="*/ 192 h 473"/>
                <a:gd name="T12" fmla="*/ 383 w 393"/>
                <a:gd name="T13" fmla="*/ 0 h 473"/>
                <a:gd name="T14" fmla="*/ 298 w 393"/>
                <a:gd name="T15" fmla="*/ 0 h 473"/>
                <a:gd name="T16" fmla="*/ 64 w 393"/>
                <a:gd name="T17" fmla="*/ 234 h 473"/>
                <a:gd name="T18" fmla="*/ 64 w 393"/>
                <a:gd name="T19" fmla="*/ 0 h 473"/>
                <a:gd name="T20" fmla="*/ 0 w 393"/>
                <a:gd name="T21" fmla="*/ 0 h 473"/>
                <a:gd name="T22" fmla="*/ 0 w 393"/>
                <a:gd name="T23" fmla="*/ 473 h 473"/>
                <a:gd name="T24" fmla="*/ 64 w 393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3" h="473">
                  <a:moveTo>
                    <a:pt x="64" y="473"/>
                  </a:moveTo>
                  <a:lnTo>
                    <a:pt x="64" y="310"/>
                  </a:lnTo>
                  <a:lnTo>
                    <a:pt x="140" y="234"/>
                  </a:lnTo>
                  <a:lnTo>
                    <a:pt x="310" y="473"/>
                  </a:lnTo>
                  <a:lnTo>
                    <a:pt x="393" y="473"/>
                  </a:lnTo>
                  <a:lnTo>
                    <a:pt x="185" y="192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4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64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9" name="Freeform 59"/>
            <p:cNvSpPr>
              <a:spLocks/>
            </p:cNvSpPr>
            <p:nvPr userDrawn="1"/>
          </p:nvSpPr>
          <p:spPr bwMode="black">
            <a:xfrm>
              <a:off x="368" y="74"/>
              <a:ext cx="373" cy="483"/>
            </a:xfrm>
            <a:custGeom>
              <a:avLst/>
              <a:gdLst>
                <a:gd name="T0" fmla="*/ 131 w 158"/>
                <a:gd name="T1" fmla="*/ 116 h 204"/>
                <a:gd name="T2" fmla="*/ 119 w 158"/>
                <a:gd name="T3" fmla="*/ 167 h 204"/>
                <a:gd name="T4" fmla="*/ 77 w 158"/>
                <a:gd name="T5" fmla="*/ 180 h 204"/>
                <a:gd name="T6" fmla="*/ 48 w 158"/>
                <a:gd name="T7" fmla="*/ 173 h 204"/>
                <a:gd name="T8" fmla="*/ 32 w 158"/>
                <a:gd name="T9" fmla="*/ 154 h 204"/>
                <a:gd name="T10" fmla="*/ 27 w 158"/>
                <a:gd name="T11" fmla="*/ 116 h 204"/>
                <a:gd name="T12" fmla="*/ 27 w 158"/>
                <a:gd name="T13" fmla="*/ 0 h 204"/>
                <a:gd name="T14" fmla="*/ 0 w 158"/>
                <a:gd name="T15" fmla="*/ 0 h 204"/>
                <a:gd name="T16" fmla="*/ 0 w 158"/>
                <a:gd name="T17" fmla="*/ 116 h 204"/>
                <a:gd name="T18" fmla="*/ 8 w 158"/>
                <a:gd name="T19" fmla="*/ 166 h 204"/>
                <a:gd name="T20" fmla="*/ 33 w 158"/>
                <a:gd name="T21" fmla="*/ 194 h 204"/>
                <a:gd name="T22" fmla="*/ 79 w 158"/>
                <a:gd name="T23" fmla="*/ 204 h 204"/>
                <a:gd name="T24" fmla="*/ 126 w 158"/>
                <a:gd name="T25" fmla="*/ 193 h 204"/>
                <a:gd name="T26" fmla="*/ 151 w 158"/>
                <a:gd name="T27" fmla="*/ 164 h 204"/>
                <a:gd name="T28" fmla="*/ 158 w 158"/>
                <a:gd name="T29" fmla="*/ 116 h 204"/>
                <a:gd name="T30" fmla="*/ 158 w 158"/>
                <a:gd name="T31" fmla="*/ 0 h 204"/>
                <a:gd name="T32" fmla="*/ 131 w 158"/>
                <a:gd name="T33" fmla="*/ 0 h 204"/>
                <a:gd name="T34" fmla="*/ 131 w 158"/>
                <a:gd name="T35" fmla="*/ 11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8" h="204">
                  <a:moveTo>
                    <a:pt x="131" y="116"/>
                  </a:moveTo>
                  <a:cubicBezTo>
                    <a:pt x="131" y="141"/>
                    <a:pt x="127" y="158"/>
                    <a:pt x="119" y="167"/>
                  </a:cubicBezTo>
                  <a:cubicBezTo>
                    <a:pt x="111" y="176"/>
                    <a:pt x="97" y="180"/>
                    <a:pt x="77" y="180"/>
                  </a:cubicBezTo>
                  <a:cubicBezTo>
                    <a:pt x="66" y="180"/>
                    <a:pt x="56" y="178"/>
                    <a:pt x="48" y="173"/>
                  </a:cubicBezTo>
                  <a:cubicBezTo>
                    <a:pt x="40" y="169"/>
                    <a:pt x="35" y="162"/>
                    <a:pt x="32" y="154"/>
                  </a:cubicBezTo>
                  <a:cubicBezTo>
                    <a:pt x="28" y="146"/>
                    <a:pt x="27" y="133"/>
                    <a:pt x="27" y="116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37"/>
                    <a:pt x="3" y="154"/>
                    <a:pt x="8" y="166"/>
                  </a:cubicBezTo>
                  <a:cubicBezTo>
                    <a:pt x="13" y="178"/>
                    <a:pt x="22" y="188"/>
                    <a:pt x="33" y="194"/>
                  </a:cubicBezTo>
                  <a:cubicBezTo>
                    <a:pt x="45" y="201"/>
                    <a:pt x="61" y="204"/>
                    <a:pt x="79" y="204"/>
                  </a:cubicBezTo>
                  <a:cubicBezTo>
                    <a:pt x="99" y="204"/>
                    <a:pt x="114" y="200"/>
                    <a:pt x="126" y="193"/>
                  </a:cubicBezTo>
                  <a:cubicBezTo>
                    <a:pt x="138" y="185"/>
                    <a:pt x="146" y="176"/>
                    <a:pt x="151" y="164"/>
                  </a:cubicBezTo>
                  <a:cubicBezTo>
                    <a:pt x="155" y="152"/>
                    <a:pt x="158" y="136"/>
                    <a:pt x="158" y="116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31" y="0"/>
                    <a:pt x="131" y="0"/>
                    <a:pt x="131" y="0"/>
                  </a:cubicBezTo>
                  <a:lnTo>
                    <a:pt x="131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0" name="Freeform 60"/>
            <p:cNvSpPr>
              <a:spLocks/>
            </p:cNvSpPr>
            <p:nvPr userDrawn="1"/>
          </p:nvSpPr>
          <p:spPr bwMode="black">
            <a:xfrm>
              <a:off x="805" y="74"/>
              <a:ext cx="262" cy="483"/>
            </a:xfrm>
            <a:custGeom>
              <a:avLst/>
              <a:gdLst>
                <a:gd name="T0" fmla="*/ 14 w 111"/>
                <a:gd name="T1" fmla="*/ 189 h 204"/>
                <a:gd name="T2" fmla="*/ 54 w 111"/>
                <a:gd name="T3" fmla="*/ 204 h 204"/>
                <a:gd name="T4" fmla="*/ 85 w 111"/>
                <a:gd name="T5" fmla="*/ 197 h 204"/>
                <a:gd name="T6" fmla="*/ 105 w 111"/>
                <a:gd name="T7" fmla="*/ 176 h 204"/>
                <a:gd name="T8" fmla="*/ 111 w 111"/>
                <a:gd name="T9" fmla="*/ 137 h 204"/>
                <a:gd name="T10" fmla="*/ 111 w 111"/>
                <a:gd name="T11" fmla="*/ 0 h 204"/>
                <a:gd name="T12" fmla="*/ 84 w 111"/>
                <a:gd name="T13" fmla="*/ 0 h 204"/>
                <a:gd name="T14" fmla="*/ 84 w 111"/>
                <a:gd name="T15" fmla="*/ 138 h 204"/>
                <a:gd name="T16" fmla="*/ 81 w 111"/>
                <a:gd name="T17" fmla="*/ 163 h 204"/>
                <a:gd name="T18" fmla="*/ 71 w 111"/>
                <a:gd name="T19" fmla="*/ 176 h 204"/>
                <a:gd name="T20" fmla="*/ 54 w 111"/>
                <a:gd name="T21" fmla="*/ 180 h 204"/>
                <a:gd name="T22" fmla="*/ 33 w 111"/>
                <a:gd name="T23" fmla="*/ 172 h 204"/>
                <a:gd name="T24" fmla="*/ 24 w 111"/>
                <a:gd name="T25" fmla="*/ 140 h 204"/>
                <a:gd name="T26" fmla="*/ 1 w 111"/>
                <a:gd name="T27" fmla="*/ 144 h 204"/>
                <a:gd name="T28" fmla="*/ 14 w 111"/>
                <a:gd name="T29" fmla="*/ 189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204">
                  <a:moveTo>
                    <a:pt x="14" y="189"/>
                  </a:moveTo>
                  <a:cubicBezTo>
                    <a:pt x="23" y="199"/>
                    <a:pt x="37" y="204"/>
                    <a:pt x="54" y="204"/>
                  </a:cubicBezTo>
                  <a:cubicBezTo>
                    <a:pt x="66" y="204"/>
                    <a:pt x="76" y="201"/>
                    <a:pt x="85" y="197"/>
                  </a:cubicBezTo>
                  <a:cubicBezTo>
                    <a:pt x="94" y="192"/>
                    <a:pt x="100" y="185"/>
                    <a:pt x="105" y="176"/>
                  </a:cubicBezTo>
                  <a:cubicBezTo>
                    <a:pt x="109" y="166"/>
                    <a:pt x="111" y="153"/>
                    <a:pt x="111" y="137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4" y="150"/>
                    <a:pt x="83" y="158"/>
                    <a:pt x="81" y="163"/>
                  </a:cubicBezTo>
                  <a:cubicBezTo>
                    <a:pt x="80" y="168"/>
                    <a:pt x="76" y="173"/>
                    <a:pt x="71" y="176"/>
                  </a:cubicBezTo>
                  <a:cubicBezTo>
                    <a:pt x="67" y="179"/>
                    <a:pt x="61" y="180"/>
                    <a:pt x="54" y="180"/>
                  </a:cubicBezTo>
                  <a:cubicBezTo>
                    <a:pt x="45" y="180"/>
                    <a:pt x="38" y="177"/>
                    <a:pt x="33" y="172"/>
                  </a:cubicBezTo>
                  <a:cubicBezTo>
                    <a:pt x="28" y="166"/>
                    <a:pt x="25" y="156"/>
                    <a:pt x="24" y="140"/>
                  </a:cubicBezTo>
                  <a:cubicBezTo>
                    <a:pt x="1" y="144"/>
                    <a:pt x="1" y="144"/>
                    <a:pt x="1" y="144"/>
                  </a:cubicBezTo>
                  <a:cubicBezTo>
                    <a:pt x="0" y="164"/>
                    <a:pt x="5" y="179"/>
                    <a:pt x="14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1" name="Freeform 61"/>
            <p:cNvSpPr>
              <a:spLocks/>
            </p:cNvSpPr>
            <p:nvPr userDrawn="1"/>
          </p:nvSpPr>
          <p:spPr bwMode="black">
            <a:xfrm>
              <a:off x="1164" y="74"/>
              <a:ext cx="352" cy="473"/>
            </a:xfrm>
            <a:custGeom>
              <a:avLst/>
              <a:gdLst>
                <a:gd name="T0" fmla="*/ 352 w 352"/>
                <a:gd name="T1" fmla="*/ 473 h 473"/>
                <a:gd name="T2" fmla="*/ 352 w 352"/>
                <a:gd name="T3" fmla="*/ 419 h 473"/>
                <a:gd name="T4" fmla="*/ 62 w 352"/>
                <a:gd name="T5" fmla="*/ 419 h 473"/>
                <a:gd name="T6" fmla="*/ 62 w 352"/>
                <a:gd name="T7" fmla="*/ 258 h 473"/>
                <a:gd name="T8" fmla="*/ 324 w 352"/>
                <a:gd name="T9" fmla="*/ 258 h 473"/>
                <a:gd name="T10" fmla="*/ 324 w 352"/>
                <a:gd name="T11" fmla="*/ 201 h 473"/>
                <a:gd name="T12" fmla="*/ 62 w 352"/>
                <a:gd name="T13" fmla="*/ 201 h 473"/>
                <a:gd name="T14" fmla="*/ 62 w 352"/>
                <a:gd name="T15" fmla="*/ 57 h 473"/>
                <a:gd name="T16" fmla="*/ 341 w 352"/>
                <a:gd name="T17" fmla="*/ 57 h 473"/>
                <a:gd name="T18" fmla="*/ 341 w 352"/>
                <a:gd name="T19" fmla="*/ 0 h 473"/>
                <a:gd name="T20" fmla="*/ 0 w 352"/>
                <a:gd name="T21" fmla="*/ 0 h 473"/>
                <a:gd name="T22" fmla="*/ 0 w 352"/>
                <a:gd name="T23" fmla="*/ 473 h 473"/>
                <a:gd name="T24" fmla="*/ 352 w 352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2" h="473">
                  <a:moveTo>
                    <a:pt x="352" y="473"/>
                  </a:moveTo>
                  <a:lnTo>
                    <a:pt x="352" y="419"/>
                  </a:lnTo>
                  <a:lnTo>
                    <a:pt x="62" y="419"/>
                  </a:lnTo>
                  <a:lnTo>
                    <a:pt x="62" y="258"/>
                  </a:lnTo>
                  <a:lnTo>
                    <a:pt x="324" y="258"/>
                  </a:lnTo>
                  <a:lnTo>
                    <a:pt x="324" y="201"/>
                  </a:lnTo>
                  <a:lnTo>
                    <a:pt x="62" y="201"/>
                  </a:lnTo>
                  <a:lnTo>
                    <a:pt x="62" y="57"/>
                  </a:lnTo>
                  <a:lnTo>
                    <a:pt x="341" y="57"/>
                  </a:lnTo>
                  <a:lnTo>
                    <a:pt x="341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352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2" name="Freeform 62"/>
            <p:cNvSpPr>
              <a:spLocks/>
            </p:cNvSpPr>
            <p:nvPr userDrawn="1"/>
          </p:nvSpPr>
          <p:spPr bwMode="black">
            <a:xfrm>
              <a:off x="1594" y="74"/>
              <a:ext cx="452" cy="473"/>
            </a:xfrm>
            <a:custGeom>
              <a:avLst/>
              <a:gdLst>
                <a:gd name="T0" fmla="*/ 26 w 191"/>
                <a:gd name="T1" fmla="*/ 200 h 200"/>
                <a:gd name="T2" fmla="*/ 26 w 191"/>
                <a:gd name="T3" fmla="*/ 30 h 200"/>
                <a:gd name="T4" fmla="*/ 83 w 191"/>
                <a:gd name="T5" fmla="*/ 200 h 200"/>
                <a:gd name="T6" fmla="*/ 107 w 191"/>
                <a:gd name="T7" fmla="*/ 200 h 200"/>
                <a:gd name="T8" fmla="*/ 165 w 191"/>
                <a:gd name="T9" fmla="*/ 33 h 200"/>
                <a:gd name="T10" fmla="*/ 165 w 191"/>
                <a:gd name="T11" fmla="*/ 200 h 200"/>
                <a:gd name="T12" fmla="*/ 191 w 191"/>
                <a:gd name="T13" fmla="*/ 200 h 200"/>
                <a:gd name="T14" fmla="*/ 191 w 191"/>
                <a:gd name="T15" fmla="*/ 0 h 200"/>
                <a:gd name="T16" fmla="*/ 155 w 191"/>
                <a:gd name="T17" fmla="*/ 0 h 200"/>
                <a:gd name="T18" fmla="*/ 107 w 191"/>
                <a:gd name="T19" fmla="*/ 140 h 200"/>
                <a:gd name="T20" fmla="*/ 97 w 191"/>
                <a:gd name="T21" fmla="*/ 172 h 200"/>
                <a:gd name="T22" fmla="*/ 87 w 191"/>
                <a:gd name="T23" fmla="*/ 142 h 200"/>
                <a:gd name="T24" fmla="*/ 40 w 191"/>
                <a:gd name="T25" fmla="*/ 0 h 200"/>
                <a:gd name="T26" fmla="*/ 0 w 191"/>
                <a:gd name="T27" fmla="*/ 0 h 200"/>
                <a:gd name="T28" fmla="*/ 0 w 191"/>
                <a:gd name="T29" fmla="*/ 200 h 200"/>
                <a:gd name="T30" fmla="*/ 26 w 191"/>
                <a:gd name="T31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1" h="200">
                  <a:moveTo>
                    <a:pt x="26" y="20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83" y="200"/>
                    <a:pt x="83" y="200"/>
                    <a:pt x="83" y="200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165" y="33"/>
                    <a:pt x="165" y="33"/>
                    <a:pt x="165" y="33"/>
                  </a:cubicBezTo>
                  <a:cubicBezTo>
                    <a:pt x="165" y="200"/>
                    <a:pt x="165" y="200"/>
                    <a:pt x="165" y="200"/>
                  </a:cubicBezTo>
                  <a:cubicBezTo>
                    <a:pt x="191" y="200"/>
                    <a:pt x="191" y="200"/>
                    <a:pt x="191" y="20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3" y="154"/>
                    <a:pt x="99" y="164"/>
                    <a:pt x="97" y="172"/>
                  </a:cubicBezTo>
                  <a:cubicBezTo>
                    <a:pt x="95" y="165"/>
                    <a:pt x="92" y="155"/>
                    <a:pt x="87" y="142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3" name="Freeform 63"/>
            <p:cNvSpPr>
              <a:spLocks noEditPoints="1"/>
            </p:cNvSpPr>
            <p:nvPr userDrawn="1"/>
          </p:nvSpPr>
          <p:spPr bwMode="black">
            <a:xfrm>
              <a:off x="2162" y="1018"/>
              <a:ext cx="357" cy="473"/>
            </a:xfrm>
            <a:custGeom>
              <a:avLst/>
              <a:gdLst>
                <a:gd name="T0" fmla="*/ 0 w 151"/>
                <a:gd name="T1" fmla="*/ 200 h 200"/>
                <a:gd name="T2" fmla="*/ 78 w 151"/>
                <a:gd name="T3" fmla="*/ 200 h 200"/>
                <a:gd name="T4" fmla="*/ 124 w 151"/>
                <a:gd name="T5" fmla="*/ 192 h 200"/>
                <a:gd name="T6" fmla="*/ 144 w 151"/>
                <a:gd name="T7" fmla="*/ 170 h 200"/>
                <a:gd name="T8" fmla="*/ 151 w 151"/>
                <a:gd name="T9" fmla="*/ 142 h 200"/>
                <a:gd name="T10" fmla="*/ 141 w 151"/>
                <a:gd name="T11" fmla="*/ 109 h 200"/>
                <a:gd name="T12" fmla="*/ 116 w 151"/>
                <a:gd name="T13" fmla="*/ 90 h 200"/>
                <a:gd name="T14" fmla="*/ 74 w 151"/>
                <a:gd name="T15" fmla="*/ 85 h 200"/>
                <a:gd name="T16" fmla="*/ 26 w 151"/>
                <a:gd name="T17" fmla="*/ 85 h 200"/>
                <a:gd name="T18" fmla="*/ 26 w 151"/>
                <a:gd name="T19" fmla="*/ 24 h 200"/>
                <a:gd name="T20" fmla="*/ 130 w 151"/>
                <a:gd name="T21" fmla="*/ 24 h 200"/>
                <a:gd name="T22" fmla="*/ 130 w 151"/>
                <a:gd name="T23" fmla="*/ 0 h 200"/>
                <a:gd name="T24" fmla="*/ 0 w 151"/>
                <a:gd name="T25" fmla="*/ 0 h 200"/>
                <a:gd name="T26" fmla="*/ 0 w 151"/>
                <a:gd name="T27" fmla="*/ 200 h 200"/>
                <a:gd name="T28" fmla="*/ 26 w 151"/>
                <a:gd name="T29" fmla="*/ 108 h 200"/>
                <a:gd name="T30" fmla="*/ 62 w 151"/>
                <a:gd name="T31" fmla="*/ 108 h 200"/>
                <a:gd name="T32" fmla="*/ 99 w 151"/>
                <a:gd name="T33" fmla="*/ 111 h 200"/>
                <a:gd name="T34" fmla="*/ 116 w 151"/>
                <a:gd name="T35" fmla="*/ 122 h 200"/>
                <a:gd name="T36" fmla="*/ 122 w 151"/>
                <a:gd name="T37" fmla="*/ 143 h 200"/>
                <a:gd name="T38" fmla="*/ 111 w 151"/>
                <a:gd name="T39" fmla="*/ 169 h 200"/>
                <a:gd name="T40" fmla="*/ 79 w 151"/>
                <a:gd name="T41" fmla="*/ 178 h 200"/>
                <a:gd name="T42" fmla="*/ 26 w 151"/>
                <a:gd name="T43" fmla="*/ 178 h 200"/>
                <a:gd name="T44" fmla="*/ 26 w 151"/>
                <a:gd name="T45" fmla="*/ 10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1" h="200">
                  <a:moveTo>
                    <a:pt x="0" y="200"/>
                  </a:moveTo>
                  <a:cubicBezTo>
                    <a:pt x="78" y="200"/>
                    <a:pt x="78" y="200"/>
                    <a:pt x="78" y="200"/>
                  </a:cubicBezTo>
                  <a:cubicBezTo>
                    <a:pt x="100" y="200"/>
                    <a:pt x="115" y="197"/>
                    <a:pt x="124" y="192"/>
                  </a:cubicBezTo>
                  <a:cubicBezTo>
                    <a:pt x="133" y="186"/>
                    <a:pt x="139" y="179"/>
                    <a:pt x="144" y="170"/>
                  </a:cubicBezTo>
                  <a:cubicBezTo>
                    <a:pt x="148" y="162"/>
                    <a:pt x="151" y="152"/>
                    <a:pt x="151" y="142"/>
                  </a:cubicBezTo>
                  <a:cubicBezTo>
                    <a:pt x="151" y="130"/>
                    <a:pt x="148" y="119"/>
                    <a:pt x="141" y="109"/>
                  </a:cubicBezTo>
                  <a:cubicBezTo>
                    <a:pt x="135" y="100"/>
                    <a:pt x="127" y="94"/>
                    <a:pt x="116" y="90"/>
                  </a:cubicBezTo>
                  <a:cubicBezTo>
                    <a:pt x="106" y="87"/>
                    <a:pt x="92" y="85"/>
                    <a:pt x="74" y="85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130" y="24"/>
                    <a:pt x="130" y="24"/>
                    <a:pt x="130" y="24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00"/>
                  </a:lnTo>
                  <a:close/>
                  <a:moveTo>
                    <a:pt x="26" y="108"/>
                  </a:moveTo>
                  <a:cubicBezTo>
                    <a:pt x="62" y="108"/>
                    <a:pt x="62" y="108"/>
                    <a:pt x="62" y="108"/>
                  </a:cubicBezTo>
                  <a:cubicBezTo>
                    <a:pt x="79" y="108"/>
                    <a:pt x="92" y="109"/>
                    <a:pt x="99" y="111"/>
                  </a:cubicBezTo>
                  <a:cubicBezTo>
                    <a:pt x="106" y="113"/>
                    <a:pt x="112" y="116"/>
                    <a:pt x="116" y="122"/>
                  </a:cubicBezTo>
                  <a:cubicBezTo>
                    <a:pt x="120" y="128"/>
                    <a:pt x="122" y="134"/>
                    <a:pt x="122" y="143"/>
                  </a:cubicBezTo>
                  <a:cubicBezTo>
                    <a:pt x="122" y="154"/>
                    <a:pt x="119" y="163"/>
                    <a:pt x="111" y="169"/>
                  </a:cubicBezTo>
                  <a:cubicBezTo>
                    <a:pt x="104" y="175"/>
                    <a:pt x="94" y="178"/>
                    <a:pt x="79" y="178"/>
                  </a:cubicBezTo>
                  <a:cubicBezTo>
                    <a:pt x="26" y="178"/>
                    <a:pt x="26" y="178"/>
                    <a:pt x="26" y="178"/>
                  </a:cubicBezTo>
                  <a:lnTo>
                    <a:pt x="26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4" name="Freeform 64"/>
            <p:cNvSpPr>
              <a:spLocks/>
            </p:cNvSpPr>
            <p:nvPr userDrawn="1"/>
          </p:nvSpPr>
          <p:spPr bwMode="black">
            <a:xfrm>
              <a:off x="2540" y="1018"/>
              <a:ext cx="376" cy="483"/>
            </a:xfrm>
            <a:custGeom>
              <a:avLst/>
              <a:gdLst>
                <a:gd name="T0" fmla="*/ 34 w 159"/>
                <a:gd name="T1" fmla="*/ 141 h 204"/>
                <a:gd name="T2" fmla="*/ 29 w 159"/>
                <a:gd name="T3" fmla="*/ 173 h 204"/>
                <a:gd name="T4" fmla="*/ 16 w 159"/>
                <a:gd name="T5" fmla="*/ 180 h 204"/>
                <a:gd name="T6" fmla="*/ 5 w 159"/>
                <a:gd name="T7" fmla="*/ 177 h 204"/>
                <a:gd name="T8" fmla="*/ 0 w 159"/>
                <a:gd name="T9" fmla="*/ 200 h 204"/>
                <a:gd name="T10" fmla="*/ 21 w 159"/>
                <a:gd name="T11" fmla="*/ 204 h 204"/>
                <a:gd name="T12" fmla="*/ 45 w 159"/>
                <a:gd name="T13" fmla="*/ 196 h 204"/>
                <a:gd name="T14" fmla="*/ 58 w 159"/>
                <a:gd name="T15" fmla="*/ 173 h 204"/>
                <a:gd name="T16" fmla="*/ 60 w 159"/>
                <a:gd name="T17" fmla="*/ 127 h 204"/>
                <a:gd name="T18" fmla="*/ 60 w 159"/>
                <a:gd name="T19" fmla="*/ 24 h 204"/>
                <a:gd name="T20" fmla="*/ 133 w 159"/>
                <a:gd name="T21" fmla="*/ 24 h 204"/>
                <a:gd name="T22" fmla="*/ 133 w 159"/>
                <a:gd name="T23" fmla="*/ 200 h 204"/>
                <a:gd name="T24" fmla="*/ 159 w 159"/>
                <a:gd name="T25" fmla="*/ 200 h 204"/>
                <a:gd name="T26" fmla="*/ 159 w 159"/>
                <a:gd name="T27" fmla="*/ 0 h 204"/>
                <a:gd name="T28" fmla="*/ 34 w 159"/>
                <a:gd name="T29" fmla="*/ 0 h 204"/>
                <a:gd name="T30" fmla="*/ 34 w 159"/>
                <a:gd name="T31" fmla="*/ 14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9" h="204">
                  <a:moveTo>
                    <a:pt x="34" y="141"/>
                  </a:moveTo>
                  <a:cubicBezTo>
                    <a:pt x="34" y="158"/>
                    <a:pt x="32" y="168"/>
                    <a:pt x="29" y="173"/>
                  </a:cubicBezTo>
                  <a:cubicBezTo>
                    <a:pt x="26" y="177"/>
                    <a:pt x="22" y="180"/>
                    <a:pt x="16" y="180"/>
                  </a:cubicBezTo>
                  <a:cubicBezTo>
                    <a:pt x="13" y="180"/>
                    <a:pt x="9" y="179"/>
                    <a:pt x="5" y="177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8" y="203"/>
                    <a:pt x="15" y="204"/>
                    <a:pt x="21" y="204"/>
                  </a:cubicBezTo>
                  <a:cubicBezTo>
                    <a:pt x="31" y="204"/>
                    <a:pt x="39" y="201"/>
                    <a:pt x="45" y="196"/>
                  </a:cubicBezTo>
                  <a:cubicBezTo>
                    <a:pt x="51" y="190"/>
                    <a:pt x="56" y="183"/>
                    <a:pt x="58" y="173"/>
                  </a:cubicBezTo>
                  <a:cubicBezTo>
                    <a:pt x="59" y="163"/>
                    <a:pt x="60" y="148"/>
                    <a:pt x="60" y="127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200"/>
                    <a:pt x="133" y="200"/>
                    <a:pt x="133" y="200"/>
                  </a:cubicBezTo>
                  <a:cubicBezTo>
                    <a:pt x="159" y="200"/>
                    <a:pt x="159" y="200"/>
                    <a:pt x="159" y="20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34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5" name="Freeform 65"/>
            <p:cNvSpPr>
              <a:spLocks noEditPoints="1"/>
            </p:cNvSpPr>
            <p:nvPr userDrawn="1"/>
          </p:nvSpPr>
          <p:spPr bwMode="black">
            <a:xfrm>
              <a:off x="2961" y="1018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4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6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1 w 187"/>
                <a:gd name="T21" fmla="*/ 21 h 200"/>
                <a:gd name="T22" fmla="*/ 105 w 187"/>
                <a:gd name="T23" fmla="*/ 63 h 200"/>
                <a:gd name="T24" fmla="*/ 126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5" y="47"/>
                    <a:pt x="88" y="34"/>
                    <a:pt x="91" y="21"/>
                  </a:cubicBezTo>
                  <a:cubicBezTo>
                    <a:pt x="94" y="32"/>
                    <a:pt x="98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6" name="Freeform 66"/>
            <p:cNvSpPr>
              <a:spLocks/>
            </p:cNvSpPr>
            <p:nvPr userDrawn="1"/>
          </p:nvSpPr>
          <p:spPr bwMode="black">
            <a:xfrm>
              <a:off x="3448" y="1018"/>
              <a:ext cx="307" cy="473"/>
            </a:xfrm>
            <a:custGeom>
              <a:avLst/>
              <a:gdLst>
                <a:gd name="T0" fmla="*/ 0 w 307"/>
                <a:gd name="T1" fmla="*/ 473 h 473"/>
                <a:gd name="T2" fmla="*/ 64 w 307"/>
                <a:gd name="T3" fmla="*/ 473 h 473"/>
                <a:gd name="T4" fmla="*/ 64 w 307"/>
                <a:gd name="T5" fmla="*/ 57 h 473"/>
                <a:gd name="T6" fmla="*/ 307 w 307"/>
                <a:gd name="T7" fmla="*/ 57 h 473"/>
                <a:gd name="T8" fmla="*/ 307 w 307"/>
                <a:gd name="T9" fmla="*/ 0 h 473"/>
                <a:gd name="T10" fmla="*/ 0 w 307"/>
                <a:gd name="T11" fmla="*/ 0 h 473"/>
                <a:gd name="T12" fmla="*/ 0 w 307"/>
                <a:gd name="T13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473">
                  <a:moveTo>
                    <a:pt x="0" y="473"/>
                  </a:moveTo>
                  <a:lnTo>
                    <a:pt x="64" y="473"/>
                  </a:lnTo>
                  <a:lnTo>
                    <a:pt x="64" y="57"/>
                  </a:lnTo>
                  <a:lnTo>
                    <a:pt x="307" y="57"/>
                  </a:lnTo>
                  <a:lnTo>
                    <a:pt x="307" y="0"/>
                  </a:lnTo>
                  <a:lnTo>
                    <a:pt x="0" y="0"/>
                  </a:lnTo>
                  <a:lnTo>
                    <a:pt x="0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7" name="Freeform 67"/>
            <p:cNvSpPr>
              <a:spLocks noEditPoints="1"/>
            </p:cNvSpPr>
            <p:nvPr userDrawn="1"/>
          </p:nvSpPr>
          <p:spPr bwMode="black">
            <a:xfrm>
              <a:off x="3743" y="1009"/>
              <a:ext cx="452" cy="492"/>
            </a:xfrm>
            <a:custGeom>
              <a:avLst/>
              <a:gdLst>
                <a:gd name="T0" fmla="*/ 11 w 191"/>
                <a:gd name="T1" fmla="*/ 157 h 208"/>
                <a:gd name="T2" fmla="*/ 45 w 191"/>
                <a:gd name="T3" fmla="*/ 194 h 208"/>
                <a:gd name="T4" fmla="*/ 95 w 191"/>
                <a:gd name="T5" fmla="*/ 208 h 208"/>
                <a:gd name="T6" fmla="*/ 144 w 191"/>
                <a:gd name="T7" fmla="*/ 195 h 208"/>
                <a:gd name="T8" fmla="*/ 179 w 191"/>
                <a:gd name="T9" fmla="*/ 159 h 208"/>
                <a:gd name="T10" fmla="*/ 191 w 191"/>
                <a:gd name="T11" fmla="*/ 104 h 208"/>
                <a:gd name="T12" fmla="*/ 179 w 191"/>
                <a:gd name="T13" fmla="*/ 51 h 208"/>
                <a:gd name="T14" fmla="*/ 146 w 191"/>
                <a:gd name="T15" fmla="*/ 14 h 208"/>
                <a:gd name="T16" fmla="*/ 96 w 191"/>
                <a:gd name="T17" fmla="*/ 0 h 208"/>
                <a:gd name="T18" fmla="*/ 26 w 191"/>
                <a:gd name="T19" fmla="*/ 29 h 208"/>
                <a:gd name="T20" fmla="*/ 0 w 191"/>
                <a:gd name="T21" fmla="*/ 107 h 208"/>
                <a:gd name="T22" fmla="*/ 11 w 191"/>
                <a:gd name="T23" fmla="*/ 157 h 208"/>
                <a:gd name="T24" fmla="*/ 47 w 191"/>
                <a:gd name="T25" fmla="*/ 43 h 208"/>
                <a:gd name="T26" fmla="*/ 96 w 191"/>
                <a:gd name="T27" fmla="*/ 23 h 208"/>
                <a:gd name="T28" fmla="*/ 131 w 191"/>
                <a:gd name="T29" fmla="*/ 33 h 208"/>
                <a:gd name="T30" fmla="*/ 156 w 191"/>
                <a:gd name="T31" fmla="*/ 62 h 208"/>
                <a:gd name="T32" fmla="*/ 164 w 191"/>
                <a:gd name="T33" fmla="*/ 104 h 208"/>
                <a:gd name="T34" fmla="*/ 145 w 191"/>
                <a:gd name="T35" fmla="*/ 164 h 208"/>
                <a:gd name="T36" fmla="*/ 95 w 191"/>
                <a:gd name="T37" fmla="*/ 185 h 208"/>
                <a:gd name="T38" fmla="*/ 46 w 191"/>
                <a:gd name="T39" fmla="*/ 164 h 208"/>
                <a:gd name="T40" fmla="*/ 27 w 191"/>
                <a:gd name="T41" fmla="*/ 107 h 208"/>
                <a:gd name="T42" fmla="*/ 47 w 191"/>
                <a:gd name="T43" fmla="*/ 4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1" h="208">
                  <a:moveTo>
                    <a:pt x="11" y="157"/>
                  </a:moveTo>
                  <a:cubicBezTo>
                    <a:pt x="19" y="172"/>
                    <a:pt x="30" y="185"/>
                    <a:pt x="45" y="194"/>
                  </a:cubicBezTo>
                  <a:cubicBezTo>
                    <a:pt x="60" y="203"/>
                    <a:pt x="77" y="208"/>
                    <a:pt x="95" y="208"/>
                  </a:cubicBezTo>
                  <a:cubicBezTo>
                    <a:pt x="113" y="208"/>
                    <a:pt x="129" y="204"/>
                    <a:pt x="144" y="195"/>
                  </a:cubicBezTo>
                  <a:cubicBezTo>
                    <a:pt x="159" y="187"/>
                    <a:pt x="171" y="175"/>
                    <a:pt x="179" y="159"/>
                  </a:cubicBezTo>
                  <a:cubicBezTo>
                    <a:pt x="187" y="143"/>
                    <a:pt x="191" y="125"/>
                    <a:pt x="191" y="104"/>
                  </a:cubicBezTo>
                  <a:cubicBezTo>
                    <a:pt x="191" y="84"/>
                    <a:pt x="187" y="66"/>
                    <a:pt x="179" y="51"/>
                  </a:cubicBezTo>
                  <a:cubicBezTo>
                    <a:pt x="172" y="35"/>
                    <a:pt x="160" y="23"/>
                    <a:pt x="146" y="14"/>
                  </a:cubicBezTo>
                  <a:cubicBezTo>
                    <a:pt x="131" y="5"/>
                    <a:pt x="114" y="0"/>
                    <a:pt x="96" y="0"/>
                  </a:cubicBezTo>
                  <a:cubicBezTo>
                    <a:pt x="67" y="0"/>
                    <a:pt x="44" y="10"/>
                    <a:pt x="26" y="29"/>
                  </a:cubicBezTo>
                  <a:cubicBezTo>
                    <a:pt x="9" y="47"/>
                    <a:pt x="0" y="74"/>
                    <a:pt x="0" y="107"/>
                  </a:cubicBezTo>
                  <a:cubicBezTo>
                    <a:pt x="0" y="124"/>
                    <a:pt x="4" y="141"/>
                    <a:pt x="11" y="157"/>
                  </a:cubicBezTo>
                  <a:close/>
                  <a:moveTo>
                    <a:pt x="47" y="43"/>
                  </a:moveTo>
                  <a:cubicBezTo>
                    <a:pt x="61" y="30"/>
                    <a:pt x="77" y="23"/>
                    <a:pt x="96" y="23"/>
                  </a:cubicBezTo>
                  <a:cubicBezTo>
                    <a:pt x="109" y="23"/>
                    <a:pt x="121" y="27"/>
                    <a:pt x="131" y="33"/>
                  </a:cubicBezTo>
                  <a:cubicBezTo>
                    <a:pt x="142" y="40"/>
                    <a:pt x="150" y="49"/>
                    <a:pt x="156" y="62"/>
                  </a:cubicBezTo>
                  <a:cubicBezTo>
                    <a:pt x="161" y="74"/>
                    <a:pt x="164" y="88"/>
                    <a:pt x="164" y="104"/>
                  </a:cubicBezTo>
                  <a:cubicBezTo>
                    <a:pt x="164" y="130"/>
                    <a:pt x="157" y="150"/>
                    <a:pt x="145" y="164"/>
                  </a:cubicBezTo>
                  <a:cubicBezTo>
                    <a:pt x="132" y="178"/>
                    <a:pt x="115" y="185"/>
                    <a:pt x="95" y="185"/>
                  </a:cubicBezTo>
                  <a:cubicBezTo>
                    <a:pt x="76" y="185"/>
                    <a:pt x="59" y="178"/>
                    <a:pt x="46" y="164"/>
                  </a:cubicBezTo>
                  <a:cubicBezTo>
                    <a:pt x="34" y="150"/>
                    <a:pt x="27" y="131"/>
                    <a:pt x="27" y="107"/>
                  </a:cubicBezTo>
                  <a:cubicBezTo>
                    <a:pt x="27" y="77"/>
                    <a:pt x="34" y="55"/>
                    <a:pt x="4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8" name="Freeform 68"/>
            <p:cNvSpPr>
              <a:spLocks noEditPoints="1"/>
            </p:cNvSpPr>
            <p:nvPr userDrawn="1"/>
          </p:nvSpPr>
          <p:spPr bwMode="black">
            <a:xfrm>
              <a:off x="4204" y="1018"/>
              <a:ext cx="423" cy="585"/>
            </a:xfrm>
            <a:custGeom>
              <a:avLst/>
              <a:gdLst>
                <a:gd name="T0" fmla="*/ 40 w 179"/>
                <a:gd name="T1" fmla="*/ 29 h 247"/>
                <a:gd name="T2" fmla="*/ 15 w 179"/>
                <a:gd name="T3" fmla="*/ 177 h 247"/>
                <a:gd name="T4" fmla="*/ 0 w 179"/>
                <a:gd name="T5" fmla="*/ 177 h 247"/>
                <a:gd name="T6" fmla="*/ 0 w 179"/>
                <a:gd name="T7" fmla="*/ 247 h 247"/>
                <a:gd name="T8" fmla="*/ 23 w 179"/>
                <a:gd name="T9" fmla="*/ 247 h 247"/>
                <a:gd name="T10" fmla="*/ 23 w 179"/>
                <a:gd name="T11" fmla="*/ 200 h 247"/>
                <a:gd name="T12" fmla="*/ 156 w 179"/>
                <a:gd name="T13" fmla="*/ 200 h 247"/>
                <a:gd name="T14" fmla="*/ 156 w 179"/>
                <a:gd name="T15" fmla="*/ 247 h 247"/>
                <a:gd name="T16" fmla="*/ 179 w 179"/>
                <a:gd name="T17" fmla="*/ 247 h 247"/>
                <a:gd name="T18" fmla="*/ 179 w 179"/>
                <a:gd name="T19" fmla="*/ 177 h 247"/>
                <a:gd name="T20" fmla="*/ 161 w 179"/>
                <a:gd name="T21" fmla="*/ 177 h 247"/>
                <a:gd name="T22" fmla="*/ 161 w 179"/>
                <a:gd name="T23" fmla="*/ 0 h 247"/>
                <a:gd name="T24" fmla="*/ 40 w 179"/>
                <a:gd name="T25" fmla="*/ 0 h 247"/>
                <a:gd name="T26" fmla="*/ 40 w 179"/>
                <a:gd name="T27" fmla="*/ 29 h 247"/>
                <a:gd name="T28" fmla="*/ 135 w 179"/>
                <a:gd name="T29" fmla="*/ 177 h 247"/>
                <a:gd name="T30" fmla="*/ 43 w 179"/>
                <a:gd name="T31" fmla="*/ 177 h 247"/>
                <a:gd name="T32" fmla="*/ 60 w 179"/>
                <a:gd name="T33" fmla="*/ 104 h 247"/>
                <a:gd name="T34" fmla="*/ 65 w 179"/>
                <a:gd name="T35" fmla="*/ 34 h 247"/>
                <a:gd name="T36" fmla="*/ 65 w 179"/>
                <a:gd name="T37" fmla="*/ 24 h 247"/>
                <a:gd name="T38" fmla="*/ 135 w 179"/>
                <a:gd name="T39" fmla="*/ 24 h 247"/>
                <a:gd name="T40" fmla="*/ 135 w 179"/>
                <a:gd name="T41" fmla="*/ 17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247">
                  <a:moveTo>
                    <a:pt x="40" y="29"/>
                  </a:moveTo>
                  <a:cubicBezTo>
                    <a:pt x="40" y="103"/>
                    <a:pt x="31" y="152"/>
                    <a:pt x="15" y="177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23" y="247"/>
                    <a:pt x="23" y="247"/>
                    <a:pt x="23" y="247"/>
                  </a:cubicBezTo>
                  <a:cubicBezTo>
                    <a:pt x="23" y="200"/>
                    <a:pt x="23" y="200"/>
                    <a:pt x="23" y="200"/>
                  </a:cubicBezTo>
                  <a:cubicBezTo>
                    <a:pt x="156" y="200"/>
                    <a:pt x="156" y="200"/>
                    <a:pt x="156" y="200"/>
                  </a:cubicBezTo>
                  <a:cubicBezTo>
                    <a:pt x="156" y="247"/>
                    <a:pt x="156" y="247"/>
                    <a:pt x="156" y="247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9" y="177"/>
                    <a:pt x="179" y="177"/>
                    <a:pt x="179" y="177"/>
                  </a:cubicBezTo>
                  <a:cubicBezTo>
                    <a:pt x="161" y="177"/>
                    <a:pt x="161" y="177"/>
                    <a:pt x="161" y="177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40" y="29"/>
                  </a:lnTo>
                  <a:close/>
                  <a:moveTo>
                    <a:pt x="135" y="177"/>
                  </a:moveTo>
                  <a:cubicBezTo>
                    <a:pt x="43" y="177"/>
                    <a:pt x="43" y="177"/>
                    <a:pt x="43" y="177"/>
                  </a:cubicBezTo>
                  <a:cubicBezTo>
                    <a:pt x="51" y="158"/>
                    <a:pt x="57" y="133"/>
                    <a:pt x="60" y="104"/>
                  </a:cubicBezTo>
                  <a:cubicBezTo>
                    <a:pt x="64" y="74"/>
                    <a:pt x="65" y="51"/>
                    <a:pt x="65" y="3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135" y="24"/>
                    <a:pt x="135" y="24"/>
                    <a:pt x="135" y="24"/>
                  </a:cubicBezTo>
                  <a:lnTo>
                    <a:pt x="135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9" name="Freeform 69"/>
            <p:cNvSpPr>
              <a:spLocks noEditPoints="1"/>
            </p:cNvSpPr>
            <p:nvPr userDrawn="1"/>
          </p:nvSpPr>
          <p:spPr bwMode="black">
            <a:xfrm>
              <a:off x="4644" y="1018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40 h 200"/>
                <a:gd name="T4" fmla="*/ 134 w 187"/>
                <a:gd name="T5" fmla="*/ 140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1 w 187"/>
                <a:gd name="T21" fmla="*/ 21 h 200"/>
                <a:gd name="T22" fmla="*/ 105 w 187"/>
                <a:gd name="T23" fmla="*/ 63 h 200"/>
                <a:gd name="T24" fmla="*/ 126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4" y="47"/>
                    <a:pt x="88" y="34"/>
                    <a:pt x="91" y="21"/>
                  </a:cubicBezTo>
                  <a:cubicBezTo>
                    <a:pt x="94" y="32"/>
                    <a:pt x="98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0" name="Freeform 70"/>
            <p:cNvSpPr>
              <a:spLocks noEditPoints="1"/>
            </p:cNvSpPr>
            <p:nvPr userDrawn="1"/>
          </p:nvSpPr>
          <p:spPr bwMode="black">
            <a:xfrm>
              <a:off x="5131" y="1018"/>
              <a:ext cx="361" cy="473"/>
            </a:xfrm>
            <a:custGeom>
              <a:avLst/>
              <a:gdLst>
                <a:gd name="T0" fmla="*/ 26 w 153"/>
                <a:gd name="T1" fmla="*/ 200 h 200"/>
                <a:gd name="T2" fmla="*/ 26 w 153"/>
                <a:gd name="T3" fmla="*/ 119 h 200"/>
                <a:gd name="T4" fmla="*/ 78 w 153"/>
                <a:gd name="T5" fmla="*/ 119 h 200"/>
                <a:gd name="T6" fmla="*/ 136 w 153"/>
                <a:gd name="T7" fmla="*/ 101 h 200"/>
                <a:gd name="T8" fmla="*/ 153 w 153"/>
                <a:gd name="T9" fmla="*/ 58 h 200"/>
                <a:gd name="T10" fmla="*/ 146 w 153"/>
                <a:gd name="T11" fmla="*/ 31 h 200"/>
                <a:gd name="T12" fmla="*/ 130 w 153"/>
                <a:gd name="T13" fmla="*/ 11 h 200"/>
                <a:gd name="T14" fmla="*/ 106 w 153"/>
                <a:gd name="T15" fmla="*/ 2 h 200"/>
                <a:gd name="T16" fmla="*/ 75 w 153"/>
                <a:gd name="T17" fmla="*/ 0 h 200"/>
                <a:gd name="T18" fmla="*/ 0 w 153"/>
                <a:gd name="T19" fmla="*/ 0 h 200"/>
                <a:gd name="T20" fmla="*/ 0 w 153"/>
                <a:gd name="T21" fmla="*/ 200 h 200"/>
                <a:gd name="T22" fmla="*/ 26 w 153"/>
                <a:gd name="T23" fmla="*/ 200 h 200"/>
                <a:gd name="T24" fmla="*/ 26 w 153"/>
                <a:gd name="T25" fmla="*/ 24 h 200"/>
                <a:gd name="T26" fmla="*/ 77 w 153"/>
                <a:gd name="T27" fmla="*/ 24 h 200"/>
                <a:gd name="T28" fmla="*/ 102 w 153"/>
                <a:gd name="T29" fmla="*/ 25 h 200"/>
                <a:gd name="T30" fmla="*/ 119 w 153"/>
                <a:gd name="T31" fmla="*/ 37 h 200"/>
                <a:gd name="T32" fmla="*/ 125 w 153"/>
                <a:gd name="T33" fmla="*/ 59 h 200"/>
                <a:gd name="T34" fmla="*/ 114 w 153"/>
                <a:gd name="T35" fmla="*/ 86 h 200"/>
                <a:gd name="T36" fmla="*/ 78 w 153"/>
                <a:gd name="T37" fmla="*/ 95 h 200"/>
                <a:gd name="T38" fmla="*/ 26 w 153"/>
                <a:gd name="T39" fmla="*/ 95 h 200"/>
                <a:gd name="T40" fmla="*/ 26 w 153"/>
                <a:gd name="T41" fmla="*/ 2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3" h="200">
                  <a:moveTo>
                    <a:pt x="26" y="200"/>
                  </a:moveTo>
                  <a:cubicBezTo>
                    <a:pt x="26" y="119"/>
                    <a:pt x="26" y="119"/>
                    <a:pt x="26" y="119"/>
                  </a:cubicBezTo>
                  <a:cubicBezTo>
                    <a:pt x="78" y="119"/>
                    <a:pt x="78" y="119"/>
                    <a:pt x="78" y="119"/>
                  </a:cubicBezTo>
                  <a:cubicBezTo>
                    <a:pt x="106" y="119"/>
                    <a:pt x="125" y="113"/>
                    <a:pt x="136" y="101"/>
                  </a:cubicBezTo>
                  <a:cubicBezTo>
                    <a:pt x="147" y="89"/>
                    <a:pt x="153" y="75"/>
                    <a:pt x="153" y="58"/>
                  </a:cubicBezTo>
                  <a:cubicBezTo>
                    <a:pt x="153" y="48"/>
                    <a:pt x="150" y="39"/>
                    <a:pt x="146" y="31"/>
                  </a:cubicBezTo>
                  <a:cubicBezTo>
                    <a:pt x="142" y="22"/>
                    <a:pt x="137" y="16"/>
                    <a:pt x="130" y="11"/>
                  </a:cubicBezTo>
                  <a:cubicBezTo>
                    <a:pt x="124" y="7"/>
                    <a:pt x="116" y="4"/>
                    <a:pt x="106" y="2"/>
                  </a:cubicBezTo>
                  <a:cubicBezTo>
                    <a:pt x="99" y="1"/>
                    <a:pt x="89" y="0"/>
                    <a:pt x="7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  <a:moveTo>
                    <a:pt x="26" y="24"/>
                  </a:moveTo>
                  <a:cubicBezTo>
                    <a:pt x="77" y="24"/>
                    <a:pt x="77" y="24"/>
                    <a:pt x="77" y="24"/>
                  </a:cubicBezTo>
                  <a:cubicBezTo>
                    <a:pt x="89" y="24"/>
                    <a:pt x="98" y="24"/>
                    <a:pt x="102" y="25"/>
                  </a:cubicBezTo>
                  <a:cubicBezTo>
                    <a:pt x="109" y="27"/>
                    <a:pt x="115" y="31"/>
                    <a:pt x="119" y="37"/>
                  </a:cubicBezTo>
                  <a:cubicBezTo>
                    <a:pt x="123" y="43"/>
                    <a:pt x="125" y="50"/>
                    <a:pt x="125" y="59"/>
                  </a:cubicBezTo>
                  <a:cubicBezTo>
                    <a:pt x="125" y="70"/>
                    <a:pt x="122" y="79"/>
                    <a:pt x="114" y="86"/>
                  </a:cubicBezTo>
                  <a:cubicBezTo>
                    <a:pt x="107" y="92"/>
                    <a:pt x="95" y="95"/>
                    <a:pt x="78" y="95"/>
                  </a:cubicBezTo>
                  <a:cubicBezTo>
                    <a:pt x="26" y="95"/>
                    <a:pt x="26" y="95"/>
                    <a:pt x="26" y="95"/>
                  </a:cubicBezTo>
                  <a:lnTo>
                    <a:pt x="26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1" name="Freeform 71"/>
            <p:cNvSpPr>
              <a:spLocks noEditPoints="1"/>
            </p:cNvSpPr>
            <p:nvPr userDrawn="1"/>
          </p:nvSpPr>
          <p:spPr bwMode="black">
            <a:xfrm>
              <a:off x="5507" y="1018"/>
              <a:ext cx="418" cy="473"/>
            </a:xfrm>
            <a:custGeom>
              <a:avLst/>
              <a:gdLst>
                <a:gd name="T0" fmla="*/ 150 w 177"/>
                <a:gd name="T1" fmla="*/ 200 h 200"/>
                <a:gd name="T2" fmla="*/ 150 w 177"/>
                <a:gd name="T3" fmla="*/ 111 h 200"/>
                <a:gd name="T4" fmla="*/ 120 w 177"/>
                <a:gd name="T5" fmla="*/ 111 h 200"/>
                <a:gd name="T6" fmla="*/ 105 w 177"/>
                <a:gd name="T7" fmla="*/ 112 h 200"/>
                <a:gd name="T8" fmla="*/ 93 w 177"/>
                <a:gd name="T9" fmla="*/ 118 h 200"/>
                <a:gd name="T10" fmla="*/ 79 w 177"/>
                <a:gd name="T11" fmla="*/ 131 h 200"/>
                <a:gd name="T12" fmla="*/ 60 w 177"/>
                <a:gd name="T13" fmla="*/ 159 h 200"/>
                <a:gd name="T14" fmla="*/ 34 w 177"/>
                <a:gd name="T15" fmla="*/ 200 h 200"/>
                <a:gd name="T16" fmla="*/ 0 w 177"/>
                <a:gd name="T17" fmla="*/ 200 h 200"/>
                <a:gd name="T18" fmla="*/ 35 w 177"/>
                <a:gd name="T19" fmla="*/ 146 h 200"/>
                <a:gd name="T20" fmla="*/ 57 w 177"/>
                <a:gd name="T21" fmla="*/ 119 h 200"/>
                <a:gd name="T22" fmla="*/ 73 w 177"/>
                <a:gd name="T23" fmla="*/ 109 h 200"/>
                <a:gd name="T24" fmla="*/ 30 w 177"/>
                <a:gd name="T25" fmla="*/ 91 h 200"/>
                <a:gd name="T26" fmla="*/ 17 w 177"/>
                <a:gd name="T27" fmla="*/ 55 h 200"/>
                <a:gd name="T28" fmla="*/ 25 w 177"/>
                <a:gd name="T29" fmla="*/ 24 h 200"/>
                <a:gd name="T30" fmla="*/ 47 w 177"/>
                <a:gd name="T31" fmla="*/ 5 h 200"/>
                <a:gd name="T32" fmla="*/ 88 w 177"/>
                <a:gd name="T33" fmla="*/ 0 h 200"/>
                <a:gd name="T34" fmla="*/ 177 w 177"/>
                <a:gd name="T35" fmla="*/ 0 h 200"/>
                <a:gd name="T36" fmla="*/ 177 w 177"/>
                <a:gd name="T37" fmla="*/ 200 h 200"/>
                <a:gd name="T38" fmla="*/ 150 w 177"/>
                <a:gd name="T39" fmla="*/ 200 h 200"/>
                <a:gd name="T40" fmla="*/ 150 w 177"/>
                <a:gd name="T41" fmla="*/ 22 h 200"/>
                <a:gd name="T42" fmla="*/ 87 w 177"/>
                <a:gd name="T43" fmla="*/ 22 h 200"/>
                <a:gd name="T44" fmla="*/ 54 w 177"/>
                <a:gd name="T45" fmla="*/ 31 h 200"/>
                <a:gd name="T46" fmla="*/ 44 w 177"/>
                <a:gd name="T47" fmla="*/ 55 h 200"/>
                <a:gd name="T48" fmla="*/ 49 w 177"/>
                <a:gd name="T49" fmla="*/ 73 h 200"/>
                <a:gd name="T50" fmla="*/ 65 w 177"/>
                <a:gd name="T51" fmla="*/ 85 h 200"/>
                <a:gd name="T52" fmla="*/ 93 w 177"/>
                <a:gd name="T53" fmla="*/ 88 h 200"/>
                <a:gd name="T54" fmla="*/ 150 w 177"/>
                <a:gd name="T55" fmla="*/ 88 h 200"/>
                <a:gd name="T56" fmla="*/ 150 w 177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" h="200">
                  <a:moveTo>
                    <a:pt x="150" y="200"/>
                  </a:moveTo>
                  <a:cubicBezTo>
                    <a:pt x="150" y="111"/>
                    <a:pt x="150" y="111"/>
                    <a:pt x="150" y="111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13" y="111"/>
                    <a:pt x="108" y="112"/>
                    <a:pt x="105" y="112"/>
                  </a:cubicBezTo>
                  <a:cubicBezTo>
                    <a:pt x="101" y="113"/>
                    <a:pt x="97" y="115"/>
                    <a:pt x="93" y="118"/>
                  </a:cubicBezTo>
                  <a:cubicBezTo>
                    <a:pt x="89" y="120"/>
                    <a:pt x="84" y="125"/>
                    <a:pt x="79" y="131"/>
                  </a:cubicBezTo>
                  <a:cubicBezTo>
                    <a:pt x="74" y="137"/>
                    <a:pt x="68" y="147"/>
                    <a:pt x="60" y="159"/>
                  </a:cubicBezTo>
                  <a:cubicBezTo>
                    <a:pt x="34" y="200"/>
                    <a:pt x="34" y="200"/>
                    <a:pt x="34" y="20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35" y="146"/>
                    <a:pt x="35" y="146"/>
                    <a:pt x="35" y="146"/>
                  </a:cubicBezTo>
                  <a:cubicBezTo>
                    <a:pt x="42" y="135"/>
                    <a:pt x="49" y="126"/>
                    <a:pt x="57" y="119"/>
                  </a:cubicBezTo>
                  <a:cubicBezTo>
                    <a:pt x="61" y="116"/>
                    <a:pt x="66" y="113"/>
                    <a:pt x="73" y="109"/>
                  </a:cubicBezTo>
                  <a:cubicBezTo>
                    <a:pt x="54" y="107"/>
                    <a:pt x="40" y="100"/>
                    <a:pt x="30" y="91"/>
                  </a:cubicBezTo>
                  <a:cubicBezTo>
                    <a:pt x="21" y="81"/>
                    <a:pt x="17" y="69"/>
                    <a:pt x="17" y="55"/>
                  </a:cubicBezTo>
                  <a:cubicBezTo>
                    <a:pt x="17" y="44"/>
                    <a:pt x="19" y="34"/>
                    <a:pt x="25" y="24"/>
                  </a:cubicBezTo>
                  <a:cubicBezTo>
                    <a:pt x="31" y="15"/>
                    <a:pt x="38" y="9"/>
                    <a:pt x="47" y="5"/>
                  </a:cubicBezTo>
                  <a:cubicBezTo>
                    <a:pt x="57" y="2"/>
                    <a:pt x="70" y="0"/>
                    <a:pt x="88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200"/>
                    <a:pt x="177" y="200"/>
                    <a:pt x="177" y="200"/>
                  </a:cubicBezTo>
                  <a:lnTo>
                    <a:pt x="150" y="200"/>
                  </a:lnTo>
                  <a:close/>
                  <a:moveTo>
                    <a:pt x="150" y="22"/>
                  </a:moveTo>
                  <a:cubicBezTo>
                    <a:pt x="87" y="22"/>
                    <a:pt x="87" y="22"/>
                    <a:pt x="87" y="22"/>
                  </a:cubicBezTo>
                  <a:cubicBezTo>
                    <a:pt x="72" y="22"/>
                    <a:pt x="61" y="25"/>
                    <a:pt x="54" y="31"/>
                  </a:cubicBezTo>
                  <a:cubicBezTo>
                    <a:pt x="47" y="37"/>
                    <a:pt x="44" y="45"/>
                    <a:pt x="44" y="55"/>
                  </a:cubicBezTo>
                  <a:cubicBezTo>
                    <a:pt x="44" y="61"/>
                    <a:pt x="46" y="67"/>
                    <a:pt x="49" y="73"/>
                  </a:cubicBezTo>
                  <a:cubicBezTo>
                    <a:pt x="53" y="78"/>
                    <a:pt x="58" y="82"/>
                    <a:pt x="65" y="85"/>
                  </a:cubicBezTo>
                  <a:cubicBezTo>
                    <a:pt x="72" y="87"/>
                    <a:pt x="81" y="88"/>
                    <a:pt x="93" y="88"/>
                  </a:cubicBezTo>
                  <a:cubicBezTo>
                    <a:pt x="150" y="88"/>
                    <a:pt x="150" y="88"/>
                    <a:pt x="150" y="88"/>
                  </a:cubicBezTo>
                  <a:lnTo>
                    <a:pt x="15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" name="Freeform 72"/>
            <p:cNvSpPr>
              <a:spLocks noEditPoints="1"/>
            </p:cNvSpPr>
            <p:nvPr userDrawn="1"/>
          </p:nvSpPr>
          <p:spPr bwMode="black">
            <a:xfrm>
              <a:off x="5745" y="57"/>
              <a:ext cx="357" cy="474"/>
            </a:xfrm>
            <a:custGeom>
              <a:avLst/>
              <a:gdLst>
                <a:gd name="T0" fmla="*/ 77 w 151"/>
                <a:gd name="T1" fmla="*/ 200 h 200"/>
                <a:gd name="T2" fmla="*/ 109 w 151"/>
                <a:gd name="T3" fmla="*/ 197 h 200"/>
                <a:gd name="T4" fmla="*/ 131 w 151"/>
                <a:gd name="T5" fmla="*/ 187 h 200"/>
                <a:gd name="T6" fmla="*/ 145 w 151"/>
                <a:gd name="T7" fmla="*/ 168 h 200"/>
                <a:gd name="T8" fmla="*/ 151 w 151"/>
                <a:gd name="T9" fmla="*/ 142 h 200"/>
                <a:gd name="T10" fmla="*/ 142 w 151"/>
                <a:gd name="T11" fmla="*/ 112 h 200"/>
                <a:gd name="T12" fmla="*/ 114 w 151"/>
                <a:gd name="T13" fmla="*/ 94 h 200"/>
                <a:gd name="T14" fmla="*/ 135 w 151"/>
                <a:gd name="T15" fmla="*/ 75 h 200"/>
                <a:gd name="T16" fmla="*/ 142 w 151"/>
                <a:gd name="T17" fmla="*/ 51 h 200"/>
                <a:gd name="T18" fmla="*/ 134 w 151"/>
                <a:gd name="T19" fmla="*/ 25 h 200"/>
                <a:gd name="T20" fmla="*/ 112 w 151"/>
                <a:gd name="T21" fmla="*/ 6 h 200"/>
                <a:gd name="T22" fmla="*/ 75 w 151"/>
                <a:gd name="T23" fmla="*/ 0 h 200"/>
                <a:gd name="T24" fmla="*/ 0 w 151"/>
                <a:gd name="T25" fmla="*/ 0 h 200"/>
                <a:gd name="T26" fmla="*/ 0 w 151"/>
                <a:gd name="T27" fmla="*/ 200 h 200"/>
                <a:gd name="T28" fmla="*/ 77 w 151"/>
                <a:gd name="T29" fmla="*/ 200 h 200"/>
                <a:gd name="T30" fmla="*/ 27 w 151"/>
                <a:gd name="T31" fmla="*/ 23 h 200"/>
                <a:gd name="T32" fmla="*/ 67 w 151"/>
                <a:gd name="T33" fmla="*/ 23 h 200"/>
                <a:gd name="T34" fmla="*/ 97 w 151"/>
                <a:gd name="T35" fmla="*/ 26 h 200"/>
                <a:gd name="T36" fmla="*/ 111 w 151"/>
                <a:gd name="T37" fmla="*/ 37 h 200"/>
                <a:gd name="T38" fmla="*/ 116 w 151"/>
                <a:gd name="T39" fmla="*/ 54 h 200"/>
                <a:gd name="T40" fmla="*/ 110 w 151"/>
                <a:gd name="T41" fmla="*/ 72 h 200"/>
                <a:gd name="T42" fmla="*/ 95 w 151"/>
                <a:gd name="T43" fmla="*/ 82 h 200"/>
                <a:gd name="T44" fmla="*/ 70 w 151"/>
                <a:gd name="T45" fmla="*/ 84 h 200"/>
                <a:gd name="T46" fmla="*/ 27 w 151"/>
                <a:gd name="T47" fmla="*/ 84 h 200"/>
                <a:gd name="T48" fmla="*/ 27 w 151"/>
                <a:gd name="T49" fmla="*/ 23 h 200"/>
                <a:gd name="T50" fmla="*/ 27 w 151"/>
                <a:gd name="T51" fmla="*/ 108 h 200"/>
                <a:gd name="T52" fmla="*/ 73 w 151"/>
                <a:gd name="T53" fmla="*/ 108 h 200"/>
                <a:gd name="T54" fmla="*/ 102 w 151"/>
                <a:gd name="T55" fmla="*/ 111 h 200"/>
                <a:gd name="T56" fmla="*/ 118 w 151"/>
                <a:gd name="T57" fmla="*/ 123 h 200"/>
                <a:gd name="T58" fmla="*/ 124 w 151"/>
                <a:gd name="T59" fmla="*/ 142 h 200"/>
                <a:gd name="T60" fmla="*/ 120 w 151"/>
                <a:gd name="T61" fmla="*/ 159 h 200"/>
                <a:gd name="T62" fmla="*/ 110 w 151"/>
                <a:gd name="T63" fmla="*/ 170 h 200"/>
                <a:gd name="T64" fmla="*/ 95 w 151"/>
                <a:gd name="T65" fmla="*/ 175 h 200"/>
                <a:gd name="T66" fmla="*/ 77 w 151"/>
                <a:gd name="T67" fmla="*/ 176 h 200"/>
                <a:gd name="T68" fmla="*/ 27 w 151"/>
                <a:gd name="T69" fmla="*/ 176 h 200"/>
                <a:gd name="T70" fmla="*/ 27 w 151"/>
                <a:gd name="T71" fmla="*/ 10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1" h="200">
                  <a:moveTo>
                    <a:pt x="77" y="200"/>
                  </a:moveTo>
                  <a:cubicBezTo>
                    <a:pt x="89" y="200"/>
                    <a:pt x="100" y="199"/>
                    <a:pt x="109" y="197"/>
                  </a:cubicBezTo>
                  <a:cubicBezTo>
                    <a:pt x="118" y="194"/>
                    <a:pt x="125" y="191"/>
                    <a:pt x="131" y="187"/>
                  </a:cubicBezTo>
                  <a:cubicBezTo>
                    <a:pt x="137" y="182"/>
                    <a:pt x="141" y="176"/>
                    <a:pt x="145" y="168"/>
                  </a:cubicBezTo>
                  <a:cubicBezTo>
                    <a:pt x="149" y="160"/>
                    <a:pt x="151" y="151"/>
                    <a:pt x="151" y="142"/>
                  </a:cubicBezTo>
                  <a:cubicBezTo>
                    <a:pt x="151" y="130"/>
                    <a:pt x="148" y="120"/>
                    <a:pt x="142" y="112"/>
                  </a:cubicBezTo>
                  <a:cubicBezTo>
                    <a:pt x="135" y="103"/>
                    <a:pt x="126" y="97"/>
                    <a:pt x="114" y="94"/>
                  </a:cubicBezTo>
                  <a:cubicBezTo>
                    <a:pt x="123" y="89"/>
                    <a:pt x="130" y="83"/>
                    <a:pt x="135" y="75"/>
                  </a:cubicBezTo>
                  <a:cubicBezTo>
                    <a:pt x="139" y="68"/>
                    <a:pt x="142" y="60"/>
                    <a:pt x="142" y="51"/>
                  </a:cubicBezTo>
                  <a:cubicBezTo>
                    <a:pt x="142" y="42"/>
                    <a:pt x="139" y="33"/>
                    <a:pt x="134" y="25"/>
                  </a:cubicBezTo>
                  <a:cubicBezTo>
                    <a:pt x="129" y="16"/>
                    <a:pt x="121" y="10"/>
                    <a:pt x="112" y="6"/>
                  </a:cubicBezTo>
                  <a:cubicBezTo>
                    <a:pt x="103" y="2"/>
                    <a:pt x="91" y="0"/>
                    <a:pt x="7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7" y="200"/>
                  </a:lnTo>
                  <a:close/>
                  <a:moveTo>
                    <a:pt x="2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81" y="23"/>
                    <a:pt x="91" y="24"/>
                    <a:pt x="97" y="26"/>
                  </a:cubicBezTo>
                  <a:cubicBezTo>
                    <a:pt x="103" y="28"/>
                    <a:pt x="108" y="32"/>
                    <a:pt x="111" y="37"/>
                  </a:cubicBezTo>
                  <a:cubicBezTo>
                    <a:pt x="114" y="42"/>
                    <a:pt x="116" y="48"/>
                    <a:pt x="116" y="54"/>
                  </a:cubicBezTo>
                  <a:cubicBezTo>
                    <a:pt x="116" y="61"/>
                    <a:pt x="114" y="67"/>
                    <a:pt x="110" y="72"/>
                  </a:cubicBezTo>
                  <a:cubicBezTo>
                    <a:pt x="107" y="76"/>
                    <a:pt x="102" y="80"/>
                    <a:pt x="95" y="82"/>
                  </a:cubicBezTo>
                  <a:cubicBezTo>
                    <a:pt x="90" y="83"/>
                    <a:pt x="82" y="84"/>
                    <a:pt x="70" y="84"/>
                  </a:cubicBezTo>
                  <a:cubicBezTo>
                    <a:pt x="27" y="84"/>
                    <a:pt x="27" y="84"/>
                    <a:pt x="27" y="84"/>
                  </a:cubicBezTo>
                  <a:lnTo>
                    <a:pt x="27" y="23"/>
                  </a:lnTo>
                  <a:close/>
                  <a:moveTo>
                    <a:pt x="27" y="108"/>
                  </a:moveTo>
                  <a:cubicBezTo>
                    <a:pt x="73" y="108"/>
                    <a:pt x="73" y="108"/>
                    <a:pt x="73" y="108"/>
                  </a:cubicBezTo>
                  <a:cubicBezTo>
                    <a:pt x="86" y="108"/>
                    <a:pt x="95" y="109"/>
                    <a:pt x="102" y="111"/>
                  </a:cubicBezTo>
                  <a:cubicBezTo>
                    <a:pt x="109" y="113"/>
                    <a:pt x="114" y="117"/>
                    <a:pt x="118" y="123"/>
                  </a:cubicBezTo>
                  <a:cubicBezTo>
                    <a:pt x="122" y="128"/>
                    <a:pt x="124" y="135"/>
                    <a:pt x="124" y="142"/>
                  </a:cubicBezTo>
                  <a:cubicBezTo>
                    <a:pt x="124" y="148"/>
                    <a:pt x="123" y="154"/>
                    <a:pt x="120" y="159"/>
                  </a:cubicBezTo>
                  <a:cubicBezTo>
                    <a:pt x="117" y="164"/>
                    <a:pt x="114" y="167"/>
                    <a:pt x="110" y="170"/>
                  </a:cubicBezTo>
                  <a:cubicBezTo>
                    <a:pt x="106" y="173"/>
                    <a:pt x="101" y="174"/>
                    <a:pt x="95" y="175"/>
                  </a:cubicBezTo>
                  <a:cubicBezTo>
                    <a:pt x="91" y="176"/>
                    <a:pt x="85" y="176"/>
                    <a:pt x="77" y="176"/>
                  </a:cubicBezTo>
                  <a:cubicBezTo>
                    <a:pt x="27" y="176"/>
                    <a:pt x="27" y="176"/>
                    <a:pt x="27" y="176"/>
                  </a:cubicBezTo>
                  <a:lnTo>
                    <a:pt x="27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" name="Freeform 73"/>
            <p:cNvSpPr>
              <a:spLocks/>
            </p:cNvSpPr>
            <p:nvPr userDrawn="1"/>
          </p:nvSpPr>
          <p:spPr bwMode="black">
            <a:xfrm>
              <a:off x="6185" y="57"/>
              <a:ext cx="352" cy="474"/>
            </a:xfrm>
            <a:custGeom>
              <a:avLst/>
              <a:gdLst>
                <a:gd name="T0" fmla="*/ 352 w 352"/>
                <a:gd name="T1" fmla="*/ 474 h 474"/>
                <a:gd name="T2" fmla="*/ 352 w 352"/>
                <a:gd name="T3" fmla="*/ 417 h 474"/>
                <a:gd name="T4" fmla="*/ 61 w 352"/>
                <a:gd name="T5" fmla="*/ 417 h 474"/>
                <a:gd name="T6" fmla="*/ 61 w 352"/>
                <a:gd name="T7" fmla="*/ 256 h 474"/>
                <a:gd name="T8" fmla="*/ 324 w 352"/>
                <a:gd name="T9" fmla="*/ 256 h 474"/>
                <a:gd name="T10" fmla="*/ 324 w 352"/>
                <a:gd name="T11" fmla="*/ 201 h 474"/>
                <a:gd name="T12" fmla="*/ 61 w 352"/>
                <a:gd name="T13" fmla="*/ 201 h 474"/>
                <a:gd name="T14" fmla="*/ 61 w 352"/>
                <a:gd name="T15" fmla="*/ 55 h 474"/>
                <a:gd name="T16" fmla="*/ 340 w 352"/>
                <a:gd name="T17" fmla="*/ 55 h 474"/>
                <a:gd name="T18" fmla="*/ 340 w 352"/>
                <a:gd name="T19" fmla="*/ 0 h 474"/>
                <a:gd name="T20" fmla="*/ 0 w 352"/>
                <a:gd name="T21" fmla="*/ 0 h 474"/>
                <a:gd name="T22" fmla="*/ 0 w 352"/>
                <a:gd name="T23" fmla="*/ 474 h 474"/>
                <a:gd name="T24" fmla="*/ 352 w 352"/>
                <a:gd name="T25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2" h="474">
                  <a:moveTo>
                    <a:pt x="352" y="474"/>
                  </a:moveTo>
                  <a:lnTo>
                    <a:pt x="352" y="417"/>
                  </a:lnTo>
                  <a:lnTo>
                    <a:pt x="61" y="417"/>
                  </a:lnTo>
                  <a:lnTo>
                    <a:pt x="61" y="256"/>
                  </a:lnTo>
                  <a:lnTo>
                    <a:pt x="324" y="256"/>
                  </a:lnTo>
                  <a:lnTo>
                    <a:pt x="324" y="201"/>
                  </a:lnTo>
                  <a:lnTo>
                    <a:pt x="61" y="201"/>
                  </a:lnTo>
                  <a:lnTo>
                    <a:pt x="61" y="55"/>
                  </a:lnTo>
                  <a:lnTo>
                    <a:pt x="340" y="55"/>
                  </a:lnTo>
                  <a:lnTo>
                    <a:pt x="340" y="0"/>
                  </a:lnTo>
                  <a:lnTo>
                    <a:pt x="0" y="0"/>
                  </a:lnTo>
                  <a:lnTo>
                    <a:pt x="0" y="474"/>
                  </a:lnTo>
                  <a:lnTo>
                    <a:pt x="352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" name="Freeform 74"/>
            <p:cNvSpPr>
              <a:spLocks noEditPoints="1"/>
            </p:cNvSpPr>
            <p:nvPr userDrawn="1"/>
          </p:nvSpPr>
          <p:spPr bwMode="black">
            <a:xfrm>
              <a:off x="6603" y="57"/>
              <a:ext cx="393" cy="474"/>
            </a:xfrm>
            <a:custGeom>
              <a:avLst/>
              <a:gdLst>
                <a:gd name="T0" fmla="*/ 72 w 166"/>
                <a:gd name="T1" fmla="*/ 200 h 200"/>
                <a:gd name="T2" fmla="*/ 105 w 166"/>
                <a:gd name="T3" fmla="*/ 197 h 200"/>
                <a:gd name="T4" fmla="*/ 128 w 166"/>
                <a:gd name="T5" fmla="*/ 187 h 200"/>
                <a:gd name="T6" fmla="*/ 147 w 166"/>
                <a:gd name="T7" fmla="*/ 168 h 200"/>
                <a:gd name="T8" fmla="*/ 160 w 166"/>
                <a:gd name="T9" fmla="*/ 139 h 200"/>
                <a:gd name="T10" fmla="*/ 166 w 166"/>
                <a:gd name="T11" fmla="*/ 99 h 200"/>
                <a:gd name="T12" fmla="*/ 158 w 166"/>
                <a:gd name="T13" fmla="*/ 51 h 200"/>
                <a:gd name="T14" fmla="*/ 134 w 166"/>
                <a:gd name="T15" fmla="*/ 17 h 200"/>
                <a:gd name="T16" fmla="*/ 105 w 166"/>
                <a:gd name="T17" fmla="*/ 3 h 200"/>
                <a:gd name="T18" fmla="*/ 69 w 166"/>
                <a:gd name="T19" fmla="*/ 0 h 200"/>
                <a:gd name="T20" fmla="*/ 0 w 166"/>
                <a:gd name="T21" fmla="*/ 0 h 200"/>
                <a:gd name="T22" fmla="*/ 0 w 166"/>
                <a:gd name="T23" fmla="*/ 200 h 200"/>
                <a:gd name="T24" fmla="*/ 72 w 166"/>
                <a:gd name="T25" fmla="*/ 200 h 200"/>
                <a:gd name="T26" fmla="*/ 27 w 166"/>
                <a:gd name="T27" fmla="*/ 23 h 200"/>
                <a:gd name="T28" fmla="*/ 69 w 166"/>
                <a:gd name="T29" fmla="*/ 23 h 200"/>
                <a:gd name="T30" fmla="*/ 103 w 166"/>
                <a:gd name="T31" fmla="*/ 28 h 200"/>
                <a:gd name="T32" fmla="*/ 128 w 166"/>
                <a:gd name="T33" fmla="*/ 50 h 200"/>
                <a:gd name="T34" fmla="*/ 138 w 166"/>
                <a:gd name="T35" fmla="*/ 98 h 200"/>
                <a:gd name="T36" fmla="*/ 133 w 166"/>
                <a:gd name="T37" fmla="*/ 137 h 200"/>
                <a:gd name="T38" fmla="*/ 118 w 166"/>
                <a:gd name="T39" fmla="*/ 162 h 200"/>
                <a:gd name="T40" fmla="*/ 100 w 166"/>
                <a:gd name="T41" fmla="*/ 173 h 200"/>
                <a:gd name="T42" fmla="*/ 69 w 166"/>
                <a:gd name="T43" fmla="*/ 176 h 200"/>
                <a:gd name="T44" fmla="*/ 27 w 166"/>
                <a:gd name="T45" fmla="*/ 176 h 200"/>
                <a:gd name="T46" fmla="*/ 27 w 166"/>
                <a:gd name="T47" fmla="*/ 2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0">
                  <a:moveTo>
                    <a:pt x="72" y="200"/>
                  </a:moveTo>
                  <a:cubicBezTo>
                    <a:pt x="85" y="200"/>
                    <a:pt x="95" y="199"/>
                    <a:pt x="105" y="197"/>
                  </a:cubicBezTo>
                  <a:cubicBezTo>
                    <a:pt x="114" y="194"/>
                    <a:pt x="122" y="191"/>
                    <a:pt x="128" y="187"/>
                  </a:cubicBezTo>
                  <a:cubicBezTo>
                    <a:pt x="135" y="182"/>
                    <a:pt x="141" y="176"/>
                    <a:pt x="147" y="168"/>
                  </a:cubicBezTo>
                  <a:cubicBezTo>
                    <a:pt x="152" y="161"/>
                    <a:pt x="157" y="151"/>
                    <a:pt x="160" y="139"/>
                  </a:cubicBezTo>
                  <a:cubicBezTo>
                    <a:pt x="164" y="128"/>
                    <a:pt x="166" y="114"/>
                    <a:pt x="166" y="99"/>
                  </a:cubicBezTo>
                  <a:cubicBezTo>
                    <a:pt x="166" y="81"/>
                    <a:pt x="163" y="65"/>
                    <a:pt x="158" y="51"/>
                  </a:cubicBezTo>
                  <a:cubicBezTo>
                    <a:pt x="153" y="37"/>
                    <a:pt x="145" y="26"/>
                    <a:pt x="134" y="17"/>
                  </a:cubicBezTo>
                  <a:cubicBezTo>
                    <a:pt x="126" y="10"/>
                    <a:pt x="116" y="5"/>
                    <a:pt x="105" y="3"/>
                  </a:cubicBezTo>
                  <a:cubicBezTo>
                    <a:pt x="97" y="1"/>
                    <a:pt x="85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2" y="200"/>
                  </a:lnTo>
                  <a:close/>
                  <a:moveTo>
                    <a:pt x="27" y="23"/>
                  </a:moveTo>
                  <a:cubicBezTo>
                    <a:pt x="69" y="23"/>
                    <a:pt x="69" y="23"/>
                    <a:pt x="69" y="23"/>
                  </a:cubicBezTo>
                  <a:cubicBezTo>
                    <a:pt x="84" y="23"/>
                    <a:pt x="96" y="25"/>
                    <a:pt x="103" y="28"/>
                  </a:cubicBezTo>
                  <a:cubicBezTo>
                    <a:pt x="113" y="31"/>
                    <a:pt x="121" y="39"/>
                    <a:pt x="128" y="50"/>
                  </a:cubicBezTo>
                  <a:cubicBezTo>
                    <a:pt x="135" y="61"/>
                    <a:pt x="138" y="78"/>
                    <a:pt x="138" y="98"/>
                  </a:cubicBezTo>
                  <a:cubicBezTo>
                    <a:pt x="138" y="114"/>
                    <a:pt x="137" y="126"/>
                    <a:pt x="133" y="137"/>
                  </a:cubicBezTo>
                  <a:cubicBezTo>
                    <a:pt x="130" y="148"/>
                    <a:pt x="125" y="156"/>
                    <a:pt x="118" y="162"/>
                  </a:cubicBezTo>
                  <a:cubicBezTo>
                    <a:pt x="114" y="167"/>
                    <a:pt x="108" y="170"/>
                    <a:pt x="100" y="173"/>
                  </a:cubicBezTo>
                  <a:cubicBezTo>
                    <a:pt x="93" y="175"/>
                    <a:pt x="83" y="176"/>
                    <a:pt x="69" y="176"/>
                  </a:cubicBezTo>
                  <a:cubicBezTo>
                    <a:pt x="27" y="176"/>
                    <a:pt x="27" y="176"/>
                    <a:pt x="27" y="176"/>
                  </a:cubicBezTo>
                  <a:lnTo>
                    <a:pt x="2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" name="Freeform 75"/>
            <p:cNvSpPr>
              <a:spLocks noEditPoints="1"/>
            </p:cNvSpPr>
            <p:nvPr userDrawn="1"/>
          </p:nvSpPr>
          <p:spPr bwMode="black">
            <a:xfrm>
              <a:off x="7001" y="57"/>
              <a:ext cx="442" cy="474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39 h 200"/>
                <a:gd name="T4" fmla="*/ 134 w 187"/>
                <a:gd name="T5" fmla="*/ 139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0 w 187"/>
                <a:gd name="T21" fmla="*/ 21 h 200"/>
                <a:gd name="T22" fmla="*/ 105 w 187"/>
                <a:gd name="T23" fmla="*/ 62 h 200"/>
                <a:gd name="T24" fmla="*/ 125 w 187"/>
                <a:gd name="T25" fmla="*/ 118 h 200"/>
                <a:gd name="T26" fmla="*/ 58 w 187"/>
                <a:gd name="T27" fmla="*/ 118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39"/>
                    <a:pt x="50" y="139"/>
                    <a:pt x="50" y="139"/>
                  </a:cubicBezTo>
                  <a:cubicBezTo>
                    <a:pt x="134" y="139"/>
                    <a:pt x="134" y="139"/>
                    <a:pt x="134" y="139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4" y="46"/>
                    <a:pt x="88" y="34"/>
                    <a:pt x="90" y="21"/>
                  </a:cubicBezTo>
                  <a:cubicBezTo>
                    <a:pt x="93" y="32"/>
                    <a:pt x="98" y="46"/>
                    <a:pt x="105" y="62"/>
                  </a:cubicBezTo>
                  <a:cubicBezTo>
                    <a:pt x="125" y="118"/>
                    <a:pt x="125" y="118"/>
                    <a:pt x="125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" name="Freeform 76"/>
            <p:cNvSpPr>
              <a:spLocks/>
            </p:cNvSpPr>
            <p:nvPr userDrawn="1"/>
          </p:nvSpPr>
          <p:spPr bwMode="black">
            <a:xfrm>
              <a:off x="7485" y="57"/>
              <a:ext cx="374" cy="474"/>
            </a:xfrm>
            <a:custGeom>
              <a:avLst/>
              <a:gdLst>
                <a:gd name="T0" fmla="*/ 62 w 374"/>
                <a:gd name="T1" fmla="*/ 474 h 474"/>
                <a:gd name="T2" fmla="*/ 62 w 374"/>
                <a:gd name="T3" fmla="*/ 102 h 474"/>
                <a:gd name="T4" fmla="*/ 310 w 374"/>
                <a:gd name="T5" fmla="*/ 474 h 474"/>
                <a:gd name="T6" fmla="*/ 374 w 374"/>
                <a:gd name="T7" fmla="*/ 474 h 474"/>
                <a:gd name="T8" fmla="*/ 374 w 374"/>
                <a:gd name="T9" fmla="*/ 0 h 474"/>
                <a:gd name="T10" fmla="*/ 315 w 374"/>
                <a:gd name="T11" fmla="*/ 0 h 474"/>
                <a:gd name="T12" fmla="*/ 315 w 374"/>
                <a:gd name="T13" fmla="*/ 372 h 474"/>
                <a:gd name="T14" fmla="*/ 64 w 374"/>
                <a:gd name="T15" fmla="*/ 0 h 474"/>
                <a:gd name="T16" fmla="*/ 0 w 374"/>
                <a:gd name="T17" fmla="*/ 0 h 474"/>
                <a:gd name="T18" fmla="*/ 0 w 374"/>
                <a:gd name="T19" fmla="*/ 474 h 474"/>
                <a:gd name="T20" fmla="*/ 62 w 374"/>
                <a:gd name="T21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" h="474">
                  <a:moveTo>
                    <a:pt x="62" y="474"/>
                  </a:moveTo>
                  <a:lnTo>
                    <a:pt x="62" y="102"/>
                  </a:lnTo>
                  <a:lnTo>
                    <a:pt x="310" y="474"/>
                  </a:lnTo>
                  <a:lnTo>
                    <a:pt x="374" y="474"/>
                  </a:lnTo>
                  <a:lnTo>
                    <a:pt x="374" y="0"/>
                  </a:lnTo>
                  <a:lnTo>
                    <a:pt x="315" y="0"/>
                  </a:lnTo>
                  <a:lnTo>
                    <a:pt x="315" y="372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4"/>
                  </a:lnTo>
                  <a:lnTo>
                    <a:pt x="62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" name="Freeform 77"/>
            <p:cNvSpPr>
              <a:spLocks/>
            </p:cNvSpPr>
            <p:nvPr userDrawn="1"/>
          </p:nvSpPr>
          <p:spPr bwMode="black">
            <a:xfrm>
              <a:off x="7941" y="57"/>
              <a:ext cx="393" cy="474"/>
            </a:xfrm>
            <a:custGeom>
              <a:avLst/>
              <a:gdLst>
                <a:gd name="T0" fmla="*/ 64 w 393"/>
                <a:gd name="T1" fmla="*/ 474 h 474"/>
                <a:gd name="T2" fmla="*/ 64 w 393"/>
                <a:gd name="T3" fmla="*/ 310 h 474"/>
                <a:gd name="T4" fmla="*/ 140 w 393"/>
                <a:gd name="T5" fmla="*/ 235 h 474"/>
                <a:gd name="T6" fmla="*/ 310 w 393"/>
                <a:gd name="T7" fmla="*/ 474 h 474"/>
                <a:gd name="T8" fmla="*/ 393 w 393"/>
                <a:gd name="T9" fmla="*/ 474 h 474"/>
                <a:gd name="T10" fmla="*/ 185 w 393"/>
                <a:gd name="T11" fmla="*/ 192 h 474"/>
                <a:gd name="T12" fmla="*/ 383 w 393"/>
                <a:gd name="T13" fmla="*/ 0 h 474"/>
                <a:gd name="T14" fmla="*/ 298 w 393"/>
                <a:gd name="T15" fmla="*/ 0 h 474"/>
                <a:gd name="T16" fmla="*/ 64 w 393"/>
                <a:gd name="T17" fmla="*/ 235 h 474"/>
                <a:gd name="T18" fmla="*/ 64 w 393"/>
                <a:gd name="T19" fmla="*/ 0 h 474"/>
                <a:gd name="T20" fmla="*/ 0 w 393"/>
                <a:gd name="T21" fmla="*/ 0 h 474"/>
                <a:gd name="T22" fmla="*/ 0 w 393"/>
                <a:gd name="T23" fmla="*/ 474 h 474"/>
                <a:gd name="T24" fmla="*/ 64 w 393"/>
                <a:gd name="T25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3" h="474">
                  <a:moveTo>
                    <a:pt x="64" y="474"/>
                  </a:moveTo>
                  <a:lnTo>
                    <a:pt x="64" y="310"/>
                  </a:lnTo>
                  <a:lnTo>
                    <a:pt x="140" y="235"/>
                  </a:lnTo>
                  <a:lnTo>
                    <a:pt x="310" y="474"/>
                  </a:lnTo>
                  <a:lnTo>
                    <a:pt x="393" y="474"/>
                  </a:lnTo>
                  <a:lnTo>
                    <a:pt x="185" y="192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5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4"/>
                  </a:lnTo>
                  <a:lnTo>
                    <a:pt x="64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" name="Freeform 78"/>
            <p:cNvSpPr>
              <a:spLocks/>
            </p:cNvSpPr>
            <p:nvPr userDrawn="1"/>
          </p:nvSpPr>
          <p:spPr bwMode="black">
            <a:xfrm>
              <a:off x="8343" y="57"/>
              <a:ext cx="376" cy="474"/>
            </a:xfrm>
            <a:custGeom>
              <a:avLst/>
              <a:gdLst>
                <a:gd name="T0" fmla="*/ 218 w 376"/>
                <a:gd name="T1" fmla="*/ 474 h 474"/>
                <a:gd name="T2" fmla="*/ 218 w 376"/>
                <a:gd name="T3" fmla="*/ 55 h 474"/>
                <a:gd name="T4" fmla="*/ 376 w 376"/>
                <a:gd name="T5" fmla="*/ 55 h 474"/>
                <a:gd name="T6" fmla="*/ 376 w 376"/>
                <a:gd name="T7" fmla="*/ 0 h 474"/>
                <a:gd name="T8" fmla="*/ 0 w 376"/>
                <a:gd name="T9" fmla="*/ 0 h 474"/>
                <a:gd name="T10" fmla="*/ 0 w 376"/>
                <a:gd name="T11" fmla="*/ 55 h 474"/>
                <a:gd name="T12" fmla="*/ 156 w 376"/>
                <a:gd name="T13" fmla="*/ 55 h 474"/>
                <a:gd name="T14" fmla="*/ 156 w 376"/>
                <a:gd name="T15" fmla="*/ 474 h 474"/>
                <a:gd name="T16" fmla="*/ 218 w 376"/>
                <a:gd name="T17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6" h="474">
                  <a:moveTo>
                    <a:pt x="218" y="474"/>
                  </a:moveTo>
                  <a:lnTo>
                    <a:pt x="218" y="55"/>
                  </a:lnTo>
                  <a:lnTo>
                    <a:pt x="376" y="55"/>
                  </a:lnTo>
                  <a:lnTo>
                    <a:pt x="376" y="0"/>
                  </a:lnTo>
                  <a:lnTo>
                    <a:pt x="0" y="0"/>
                  </a:lnTo>
                  <a:lnTo>
                    <a:pt x="0" y="55"/>
                  </a:lnTo>
                  <a:lnTo>
                    <a:pt x="156" y="55"/>
                  </a:lnTo>
                  <a:lnTo>
                    <a:pt x="156" y="474"/>
                  </a:lnTo>
                  <a:lnTo>
                    <a:pt x="218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" name="Freeform 79"/>
            <p:cNvSpPr>
              <a:spLocks/>
            </p:cNvSpPr>
            <p:nvPr userDrawn="1"/>
          </p:nvSpPr>
          <p:spPr bwMode="black">
            <a:xfrm>
              <a:off x="7041" y="1025"/>
              <a:ext cx="376" cy="476"/>
            </a:xfrm>
            <a:custGeom>
              <a:avLst/>
              <a:gdLst>
                <a:gd name="T0" fmla="*/ 220 w 376"/>
                <a:gd name="T1" fmla="*/ 476 h 476"/>
                <a:gd name="T2" fmla="*/ 220 w 376"/>
                <a:gd name="T3" fmla="*/ 57 h 476"/>
                <a:gd name="T4" fmla="*/ 376 w 376"/>
                <a:gd name="T5" fmla="*/ 57 h 476"/>
                <a:gd name="T6" fmla="*/ 376 w 376"/>
                <a:gd name="T7" fmla="*/ 0 h 476"/>
                <a:gd name="T8" fmla="*/ 0 w 376"/>
                <a:gd name="T9" fmla="*/ 0 h 476"/>
                <a:gd name="T10" fmla="*/ 0 w 376"/>
                <a:gd name="T11" fmla="*/ 57 h 476"/>
                <a:gd name="T12" fmla="*/ 156 w 376"/>
                <a:gd name="T13" fmla="*/ 57 h 476"/>
                <a:gd name="T14" fmla="*/ 156 w 376"/>
                <a:gd name="T15" fmla="*/ 476 h 476"/>
                <a:gd name="T16" fmla="*/ 220 w 376"/>
                <a:gd name="T17" fmla="*/ 47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6" h="476">
                  <a:moveTo>
                    <a:pt x="220" y="476"/>
                  </a:moveTo>
                  <a:lnTo>
                    <a:pt x="220" y="57"/>
                  </a:lnTo>
                  <a:lnTo>
                    <a:pt x="376" y="57"/>
                  </a:lnTo>
                  <a:lnTo>
                    <a:pt x="37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156" y="57"/>
                  </a:lnTo>
                  <a:lnTo>
                    <a:pt x="156" y="476"/>
                  </a:lnTo>
                  <a:lnTo>
                    <a:pt x="220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" name="Freeform 80"/>
            <p:cNvSpPr>
              <a:spLocks noEditPoints="1"/>
            </p:cNvSpPr>
            <p:nvPr userDrawn="1"/>
          </p:nvSpPr>
          <p:spPr bwMode="black">
            <a:xfrm>
              <a:off x="7372" y="1025"/>
              <a:ext cx="444" cy="476"/>
            </a:xfrm>
            <a:custGeom>
              <a:avLst/>
              <a:gdLst>
                <a:gd name="T0" fmla="*/ 29 w 188"/>
                <a:gd name="T1" fmla="*/ 201 h 201"/>
                <a:gd name="T2" fmla="*/ 51 w 188"/>
                <a:gd name="T3" fmla="*/ 140 h 201"/>
                <a:gd name="T4" fmla="*/ 134 w 188"/>
                <a:gd name="T5" fmla="*/ 140 h 201"/>
                <a:gd name="T6" fmla="*/ 158 w 188"/>
                <a:gd name="T7" fmla="*/ 201 h 201"/>
                <a:gd name="T8" fmla="*/ 188 w 188"/>
                <a:gd name="T9" fmla="*/ 201 h 201"/>
                <a:gd name="T10" fmla="*/ 106 w 188"/>
                <a:gd name="T11" fmla="*/ 0 h 201"/>
                <a:gd name="T12" fmla="*/ 77 w 188"/>
                <a:gd name="T13" fmla="*/ 0 h 201"/>
                <a:gd name="T14" fmla="*/ 0 w 188"/>
                <a:gd name="T15" fmla="*/ 201 h 201"/>
                <a:gd name="T16" fmla="*/ 29 w 188"/>
                <a:gd name="T17" fmla="*/ 201 h 201"/>
                <a:gd name="T18" fmla="*/ 80 w 188"/>
                <a:gd name="T19" fmla="*/ 60 h 201"/>
                <a:gd name="T20" fmla="*/ 91 w 188"/>
                <a:gd name="T21" fmla="*/ 21 h 201"/>
                <a:gd name="T22" fmla="*/ 105 w 188"/>
                <a:gd name="T23" fmla="*/ 63 h 201"/>
                <a:gd name="T24" fmla="*/ 126 w 188"/>
                <a:gd name="T25" fmla="*/ 118 h 201"/>
                <a:gd name="T26" fmla="*/ 58 w 188"/>
                <a:gd name="T27" fmla="*/ 118 h 201"/>
                <a:gd name="T28" fmla="*/ 80 w 188"/>
                <a:gd name="T29" fmla="*/ 6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201">
                  <a:moveTo>
                    <a:pt x="29" y="201"/>
                  </a:moveTo>
                  <a:cubicBezTo>
                    <a:pt x="51" y="140"/>
                    <a:pt x="51" y="140"/>
                    <a:pt x="51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8" y="201"/>
                    <a:pt x="158" y="201"/>
                    <a:pt x="158" y="201"/>
                  </a:cubicBezTo>
                  <a:cubicBezTo>
                    <a:pt x="188" y="201"/>
                    <a:pt x="188" y="201"/>
                    <a:pt x="188" y="201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1"/>
                    <a:pt x="0" y="201"/>
                    <a:pt x="0" y="201"/>
                  </a:cubicBezTo>
                  <a:lnTo>
                    <a:pt x="29" y="201"/>
                  </a:lnTo>
                  <a:close/>
                  <a:moveTo>
                    <a:pt x="80" y="60"/>
                  </a:moveTo>
                  <a:cubicBezTo>
                    <a:pt x="85" y="47"/>
                    <a:pt x="88" y="34"/>
                    <a:pt x="91" y="21"/>
                  </a:cubicBezTo>
                  <a:cubicBezTo>
                    <a:pt x="94" y="32"/>
                    <a:pt x="99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1" name="Freeform 81"/>
            <p:cNvSpPr>
              <a:spLocks/>
            </p:cNvSpPr>
            <p:nvPr userDrawn="1"/>
          </p:nvSpPr>
          <p:spPr bwMode="black">
            <a:xfrm>
              <a:off x="7856" y="1025"/>
              <a:ext cx="393" cy="476"/>
            </a:xfrm>
            <a:custGeom>
              <a:avLst/>
              <a:gdLst>
                <a:gd name="T0" fmla="*/ 64 w 393"/>
                <a:gd name="T1" fmla="*/ 476 h 476"/>
                <a:gd name="T2" fmla="*/ 64 w 393"/>
                <a:gd name="T3" fmla="*/ 310 h 476"/>
                <a:gd name="T4" fmla="*/ 140 w 393"/>
                <a:gd name="T5" fmla="*/ 235 h 476"/>
                <a:gd name="T6" fmla="*/ 310 w 393"/>
                <a:gd name="T7" fmla="*/ 476 h 476"/>
                <a:gd name="T8" fmla="*/ 393 w 393"/>
                <a:gd name="T9" fmla="*/ 476 h 476"/>
                <a:gd name="T10" fmla="*/ 185 w 393"/>
                <a:gd name="T11" fmla="*/ 194 h 476"/>
                <a:gd name="T12" fmla="*/ 383 w 393"/>
                <a:gd name="T13" fmla="*/ 0 h 476"/>
                <a:gd name="T14" fmla="*/ 298 w 393"/>
                <a:gd name="T15" fmla="*/ 0 h 476"/>
                <a:gd name="T16" fmla="*/ 64 w 393"/>
                <a:gd name="T17" fmla="*/ 237 h 476"/>
                <a:gd name="T18" fmla="*/ 64 w 393"/>
                <a:gd name="T19" fmla="*/ 0 h 476"/>
                <a:gd name="T20" fmla="*/ 0 w 393"/>
                <a:gd name="T21" fmla="*/ 0 h 476"/>
                <a:gd name="T22" fmla="*/ 0 w 393"/>
                <a:gd name="T23" fmla="*/ 476 h 476"/>
                <a:gd name="T24" fmla="*/ 64 w 393"/>
                <a:gd name="T25" fmla="*/ 47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3" h="476">
                  <a:moveTo>
                    <a:pt x="64" y="476"/>
                  </a:moveTo>
                  <a:lnTo>
                    <a:pt x="64" y="310"/>
                  </a:lnTo>
                  <a:lnTo>
                    <a:pt x="140" y="235"/>
                  </a:lnTo>
                  <a:lnTo>
                    <a:pt x="310" y="476"/>
                  </a:lnTo>
                  <a:lnTo>
                    <a:pt x="393" y="476"/>
                  </a:lnTo>
                  <a:lnTo>
                    <a:pt x="185" y="194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7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6"/>
                  </a:lnTo>
                  <a:lnTo>
                    <a:pt x="64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2" name="Freeform 82"/>
            <p:cNvSpPr>
              <a:spLocks/>
            </p:cNvSpPr>
            <p:nvPr userDrawn="1"/>
          </p:nvSpPr>
          <p:spPr bwMode="black">
            <a:xfrm>
              <a:off x="8291" y="1025"/>
              <a:ext cx="390" cy="476"/>
            </a:xfrm>
            <a:custGeom>
              <a:avLst/>
              <a:gdLst>
                <a:gd name="T0" fmla="*/ 62 w 390"/>
                <a:gd name="T1" fmla="*/ 476 h 476"/>
                <a:gd name="T2" fmla="*/ 62 w 390"/>
                <a:gd name="T3" fmla="*/ 310 h 476"/>
                <a:gd name="T4" fmla="*/ 140 w 390"/>
                <a:gd name="T5" fmla="*/ 235 h 476"/>
                <a:gd name="T6" fmla="*/ 308 w 390"/>
                <a:gd name="T7" fmla="*/ 476 h 476"/>
                <a:gd name="T8" fmla="*/ 390 w 390"/>
                <a:gd name="T9" fmla="*/ 476 h 476"/>
                <a:gd name="T10" fmla="*/ 185 w 390"/>
                <a:gd name="T11" fmla="*/ 194 h 476"/>
                <a:gd name="T12" fmla="*/ 383 w 390"/>
                <a:gd name="T13" fmla="*/ 0 h 476"/>
                <a:gd name="T14" fmla="*/ 298 w 390"/>
                <a:gd name="T15" fmla="*/ 0 h 476"/>
                <a:gd name="T16" fmla="*/ 62 w 390"/>
                <a:gd name="T17" fmla="*/ 237 h 476"/>
                <a:gd name="T18" fmla="*/ 62 w 390"/>
                <a:gd name="T19" fmla="*/ 0 h 476"/>
                <a:gd name="T20" fmla="*/ 0 w 390"/>
                <a:gd name="T21" fmla="*/ 0 h 476"/>
                <a:gd name="T22" fmla="*/ 0 w 390"/>
                <a:gd name="T23" fmla="*/ 476 h 476"/>
                <a:gd name="T24" fmla="*/ 62 w 390"/>
                <a:gd name="T25" fmla="*/ 47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0" h="476">
                  <a:moveTo>
                    <a:pt x="62" y="476"/>
                  </a:moveTo>
                  <a:lnTo>
                    <a:pt x="62" y="310"/>
                  </a:lnTo>
                  <a:lnTo>
                    <a:pt x="140" y="235"/>
                  </a:lnTo>
                  <a:lnTo>
                    <a:pt x="308" y="476"/>
                  </a:lnTo>
                  <a:lnTo>
                    <a:pt x="390" y="476"/>
                  </a:lnTo>
                  <a:lnTo>
                    <a:pt x="185" y="194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2" y="237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476"/>
                  </a:lnTo>
                  <a:lnTo>
                    <a:pt x="6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3" name="Freeform 83"/>
            <p:cNvSpPr>
              <a:spLocks noEditPoints="1"/>
            </p:cNvSpPr>
            <p:nvPr userDrawn="1"/>
          </p:nvSpPr>
          <p:spPr bwMode="black">
            <a:xfrm>
              <a:off x="3053" y="67"/>
              <a:ext cx="392" cy="473"/>
            </a:xfrm>
            <a:custGeom>
              <a:avLst/>
              <a:gdLst>
                <a:gd name="T0" fmla="*/ 72 w 166"/>
                <a:gd name="T1" fmla="*/ 200 h 200"/>
                <a:gd name="T2" fmla="*/ 105 w 166"/>
                <a:gd name="T3" fmla="*/ 197 h 200"/>
                <a:gd name="T4" fmla="*/ 128 w 166"/>
                <a:gd name="T5" fmla="*/ 187 h 200"/>
                <a:gd name="T6" fmla="*/ 147 w 166"/>
                <a:gd name="T7" fmla="*/ 169 h 200"/>
                <a:gd name="T8" fmla="*/ 160 w 166"/>
                <a:gd name="T9" fmla="*/ 140 h 200"/>
                <a:gd name="T10" fmla="*/ 166 w 166"/>
                <a:gd name="T11" fmla="*/ 99 h 200"/>
                <a:gd name="T12" fmla="*/ 158 w 166"/>
                <a:gd name="T13" fmla="*/ 52 h 200"/>
                <a:gd name="T14" fmla="*/ 134 w 166"/>
                <a:gd name="T15" fmla="*/ 17 h 200"/>
                <a:gd name="T16" fmla="*/ 105 w 166"/>
                <a:gd name="T17" fmla="*/ 3 h 200"/>
                <a:gd name="T18" fmla="*/ 69 w 166"/>
                <a:gd name="T19" fmla="*/ 0 h 200"/>
                <a:gd name="T20" fmla="*/ 0 w 166"/>
                <a:gd name="T21" fmla="*/ 0 h 200"/>
                <a:gd name="T22" fmla="*/ 0 w 166"/>
                <a:gd name="T23" fmla="*/ 200 h 200"/>
                <a:gd name="T24" fmla="*/ 72 w 166"/>
                <a:gd name="T25" fmla="*/ 200 h 200"/>
                <a:gd name="T26" fmla="*/ 27 w 166"/>
                <a:gd name="T27" fmla="*/ 24 h 200"/>
                <a:gd name="T28" fmla="*/ 69 w 166"/>
                <a:gd name="T29" fmla="*/ 24 h 200"/>
                <a:gd name="T30" fmla="*/ 103 w 166"/>
                <a:gd name="T31" fmla="*/ 28 h 200"/>
                <a:gd name="T32" fmla="*/ 128 w 166"/>
                <a:gd name="T33" fmla="*/ 51 h 200"/>
                <a:gd name="T34" fmla="*/ 138 w 166"/>
                <a:gd name="T35" fmla="*/ 99 h 200"/>
                <a:gd name="T36" fmla="*/ 133 w 166"/>
                <a:gd name="T37" fmla="*/ 137 h 200"/>
                <a:gd name="T38" fmla="*/ 118 w 166"/>
                <a:gd name="T39" fmla="*/ 163 h 200"/>
                <a:gd name="T40" fmla="*/ 100 w 166"/>
                <a:gd name="T41" fmla="*/ 173 h 200"/>
                <a:gd name="T42" fmla="*/ 69 w 166"/>
                <a:gd name="T43" fmla="*/ 177 h 200"/>
                <a:gd name="T44" fmla="*/ 27 w 166"/>
                <a:gd name="T45" fmla="*/ 177 h 200"/>
                <a:gd name="T46" fmla="*/ 27 w 166"/>
                <a:gd name="T47" fmla="*/ 2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0">
                  <a:moveTo>
                    <a:pt x="72" y="200"/>
                  </a:moveTo>
                  <a:cubicBezTo>
                    <a:pt x="84" y="200"/>
                    <a:pt x="95" y="199"/>
                    <a:pt x="105" y="197"/>
                  </a:cubicBezTo>
                  <a:cubicBezTo>
                    <a:pt x="114" y="195"/>
                    <a:pt x="122" y="191"/>
                    <a:pt x="128" y="187"/>
                  </a:cubicBezTo>
                  <a:cubicBezTo>
                    <a:pt x="135" y="183"/>
                    <a:pt x="141" y="177"/>
                    <a:pt x="147" y="169"/>
                  </a:cubicBezTo>
                  <a:cubicBezTo>
                    <a:pt x="152" y="161"/>
                    <a:pt x="157" y="151"/>
                    <a:pt x="160" y="140"/>
                  </a:cubicBezTo>
                  <a:cubicBezTo>
                    <a:pt x="164" y="128"/>
                    <a:pt x="166" y="114"/>
                    <a:pt x="166" y="99"/>
                  </a:cubicBezTo>
                  <a:cubicBezTo>
                    <a:pt x="166" y="81"/>
                    <a:pt x="163" y="66"/>
                    <a:pt x="158" y="52"/>
                  </a:cubicBezTo>
                  <a:cubicBezTo>
                    <a:pt x="153" y="38"/>
                    <a:pt x="145" y="26"/>
                    <a:pt x="134" y="17"/>
                  </a:cubicBezTo>
                  <a:cubicBezTo>
                    <a:pt x="126" y="11"/>
                    <a:pt x="116" y="6"/>
                    <a:pt x="105" y="3"/>
                  </a:cubicBezTo>
                  <a:cubicBezTo>
                    <a:pt x="97" y="1"/>
                    <a:pt x="85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2" y="200"/>
                  </a:lnTo>
                  <a:close/>
                  <a:moveTo>
                    <a:pt x="27" y="24"/>
                  </a:moveTo>
                  <a:cubicBezTo>
                    <a:pt x="69" y="24"/>
                    <a:pt x="69" y="24"/>
                    <a:pt x="69" y="24"/>
                  </a:cubicBezTo>
                  <a:cubicBezTo>
                    <a:pt x="84" y="24"/>
                    <a:pt x="96" y="25"/>
                    <a:pt x="103" y="28"/>
                  </a:cubicBezTo>
                  <a:cubicBezTo>
                    <a:pt x="113" y="32"/>
                    <a:pt x="121" y="39"/>
                    <a:pt x="128" y="51"/>
                  </a:cubicBezTo>
                  <a:cubicBezTo>
                    <a:pt x="135" y="62"/>
                    <a:pt x="138" y="78"/>
                    <a:pt x="138" y="99"/>
                  </a:cubicBezTo>
                  <a:cubicBezTo>
                    <a:pt x="138" y="114"/>
                    <a:pt x="137" y="127"/>
                    <a:pt x="133" y="137"/>
                  </a:cubicBezTo>
                  <a:cubicBezTo>
                    <a:pt x="130" y="148"/>
                    <a:pt x="125" y="156"/>
                    <a:pt x="118" y="163"/>
                  </a:cubicBezTo>
                  <a:cubicBezTo>
                    <a:pt x="114" y="167"/>
                    <a:pt x="108" y="171"/>
                    <a:pt x="100" y="173"/>
                  </a:cubicBezTo>
                  <a:cubicBezTo>
                    <a:pt x="93" y="176"/>
                    <a:pt x="83" y="177"/>
                    <a:pt x="69" y="177"/>
                  </a:cubicBezTo>
                  <a:cubicBezTo>
                    <a:pt x="27" y="177"/>
                    <a:pt x="27" y="177"/>
                    <a:pt x="27" y="177"/>
                  </a:cubicBezTo>
                  <a:lnTo>
                    <a:pt x="27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" name="Freeform 84"/>
            <p:cNvSpPr>
              <a:spLocks noEditPoints="1"/>
            </p:cNvSpPr>
            <p:nvPr userDrawn="1"/>
          </p:nvSpPr>
          <p:spPr bwMode="black">
            <a:xfrm>
              <a:off x="3471" y="67"/>
              <a:ext cx="445" cy="473"/>
            </a:xfrm>
            <a:custGeom>
              <a:avLst/>
              <a:gdLst>
                <a:gd name="T0" fmla="*/ 28 w 188"/>
                <a:gd name="T1" fmla="*/ 200 h 200"/>
                <a:gd name="T2" fmla="*/ 50 w 188"/>
                <a:gd name="T3" fmla="*/ 140 h 200"/>
                <a:gd name="T4" fmla="*/ 134 w 188"/>
                <a:gd name="T5" fmla="*/ 140 h 200"/>
                <a:gd name="T6" fmla="*/ 158 w 188"/>
                <a:gd name="T7" fmla="*/ 200 h 200"/>
                <a:gd name="T8" fmla="*/ 188 w 188"/>
                <a:gd name="T9" fmla="*/ 200 h 200"/>
                <a:gd name="T10" fmla="*/ 106 w 188"/>
                <a:gd name="T11" fmla="*/ 0 h 200"/>
                <a:gd name="T12" fmla="*/ 77 w 188"/>
                <a:gd name="T13" fmla="*/ 0 h 200"/>
                <a:gd name="T14" fmla="*/ 0 w 188"/>
                <a:gd name="T15" fmla="*/ 200 h 200"/>
                <a:gd name="T16" fmla="*/ 28 w 188"/>
                <a:gd name="T17" fmla="*/ 200 h 200"/>
                <a:gd name="T18" fmla="*/ 80 w 188"/>
                <a:gd name="T19" fmla="*/ 59 h 200"/>
                <a:gd name="T20" fmla="*/ 91 w 188"/>
                <a:gd name="T21" fmla="*/ 21 h 200"/>
                <a:gd name="T22" fmla="*/ 105 w 188"/>
                <a:gd name="T23" fmla="*/ 63 h 200"/>
                <a:gd name="T24" fmla="*/ 126 w 188"/>
                <a:gd name="T25" fmla="*/ 118 h 200"/>
                <a:gd name="T26" fmla="*/ 58 w 188"/>
                <a:gd name="T27" fmla="*/ 118 h 200"/>
                <a:gd name="T28" fmla="*/ 80 w 188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200">
                  <a:moveTo>
                    <a:pt x="28" y="200"/>
                  </a:moveTo>
                  <a:cubicBezTo>
                    <a:pt x="50" y="140"/>
                    <a:pt x="50" y="140"/>
                    <a:pt x="50" y="140"/>
                  </a:cubicBezTo>
                  <a:cubicBezTo>
                    <a:pt x="134" y="140"/>
                    <a:pt x="134" y="140"/>
                    <a:pt x="134" y="140"/>
                  </a:cubicBezTo>
                  <a:cubicBezTo>
                    <a:pt x="158" y="200"/>
                    <a:pt x="158" y="200"/>
                    <a:pt x="158" y="200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5" y="47"/>
                    <a:pt x="88" y="34"/>
                    <a:pt x="91" y="21"/>
                  </a:cubicBezTo>
                  <a:cubicBezTo>
                    <a:pt x="94" y="32"/>
                    <a:pt x="99" y="46"/>
                    <a:pt x="105" y="63"/>
                  </a:cubicBezTo>
                  <a:cubicBezTo>
                    <a:pt x="126" y="118"/>
                    <a:pt x="126" y="118"/>
                    <a:pt x="126" y="118"/>
                  </a:cubicBezTo>
                  <a:cubicBezTo>
                    <a:pt x="58" y="118"/>
                    <a:pt x="58" y="118"/>
                    <a:pt x="58" y="118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" name="Freeform 85"/>
            <p:cNvSpPr>
              <a:spLocks/>
            </p:cNvSpPr>
            <p:nvPr userDrawn="1"/>
          </p:nvSpPr>
          <p:spPr bwMode="black">
            <a:xfrm>
              <a:off x="3958" y="67"/>
              <a:ext cx="374" cy="473"/>
            </a:xfrm>
            <a:custGeom>
              <a:avLst/>
              <a:gdLst>
                <a:gd name="T0" fmla="*/ 59 w 374"/>
                <a:gd name="T1" fmla="*/ 473 h 473"/>
                <a:gd name="T2" fmla="*/ 59 w 374"/>
                <a:gd name="T3" fmla="*/ 102 h 473"/>
                <a:gd name="T4" fmla="*/ 308 w 374"/>
                <a:gd name="T5" fmla="*/ 473 h 473"/>
                <a:gd name="T6" fmla="*/ 374 w 374"/>
                <a:gd name="T7" fmla="*/ 473 h 473"/>
                <a:gd name="T8" fmla="*/ 374 w 374"/>
                <a:gd name="T9" fmla="*/ 0 h 473"/>
                <a:gd name="T10" fmla="*/ 312 w 374"/>
                <a:gd name="T11" fmla="*/ 0 h 473"/>
                <a:gd name="T12" fmla="*/ 312 w 374"/>
                <a:gd name="T13" fmla="*/ 371 h 473"/>
                <a:gd name="T14" fmla="*/ 64 w 374"/>
                <a:gd name="T15" fmla="*/ 0 h 473"/>
                <a:gd name="T16" fmla="*/ 0 w 374"/>
                <a:gd name="T17" fmla="*/ 0 h 473"/>
                <a:gd name="T18" fmla="*/ 0 w 374"/>
                <a:gd name="T19" fmla="*/ 473 h 473"/>
                <a:gd name="T20" fmla="*/ 59 w 374"/>
                <a:gd name="T21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4" h="473">
                  <a:moveTo>
                    <a:pt x="59" y="473"/>
                  </a:moveTo>
                  <a:lnTo>
                    <a:pt x="59" y="102"/>
                  </a:lnTo>
                  <a:lnTo>
                    <a:pt x="308" y="473"/>
                  </a:lnTo>
                  <a:lnTo>
                    <a:pt x="374" y="473"/>
                  </a:lnTo>
                  <a:lnTo>
                    <a:pt x="374" y="0"/>
                  </a:lnTo>
                  <a:lnTo>
                    <a:pt x="312" y="0"/>
                  </a:lnTo>
                  <a:lnTo>
                    <a:pt x="312" y="371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59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" name="Freeform 86"/>
            <p:cNvSpPr>
              <a:spLocks/>
            </p:cNvSpPr>
            <p:nvPr userDrawn="1"/>
          </p:nvSpPr>
          <p:spPr bwMode="black">
            <a:xfrm>
              <a:off x="4426" y="67"/>
              <a:ext cx="393" cy="473"/>
            </a:xfrm>
            <a:custGeom>
              <a:avLst/>
              <a:gdLst>
                <a:gd name="T0" fmla="*/ 64 w 393"/>
                <a:gd name="T1" fmla="*/ 473 h 473"/>
                <a:gd name="T2" fmla="*/ 64 w 393"/>
                <a:gd name="T3" fmla="*/ 310 h 473"/>
                <a:gd name="T4" fmla="*/ 140 w 393"/>
                <a:gd name="T5" fmla="*/ 234 h 473"/>
                <a:gd name="T6" fmla="*/ 310 w 393"/>
                <a:gd name="T7" fmla="*/ 473 h 473"/>
                <a:gd name="T8" fmla="*/ 393 w 393"/>
                <a:gd name="T9" fmla="*/ 473 h 473"/>
                <a:gd name="T10" fmla="*/ 185 w 393"/>
                <a:gd name="T11" fmla="*/ 191 h 473"/>
                <a:gd name="T12" fmla="*/ 383 w 393"/>
                <a:gd name="T13" fmla="*/ 0 h 473"/>
                <a:gd name="T14" fmla="*/ 298 w 393"/>
                <a:gd name="T15" fmla="*/ 0 h 473"/>
                <a:gd name="T16" fmla="*/ 64 w 393"/>
                <a:gd name="T17" fmla="*/ 236 h 473"/>
                <a:gd name="T18" fmla="*/ 64 w 393"/>
                <a:gd name="T19" fmla="*/ 0 h 473"/>
                <a:gd name="T20" fmla="*/ 0 w 393"/>
                <a:gd name="T21" fmla="*/ 0 h 473"/>
                <a:gd name="T22" fmla="*/ 0 w 393"/>
                <a:gd name="T23" fmla="*/ 473 h 473"/>
                <a:gd name="T24" fmla="*/ 64 w 393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3" h="473">
                  <a:moveTo>
                    <a:pt x="64" y="473"/>
                  </a:moveTo>
                  <a:lnTo>
                    <a:pt x="64" y="310"/>
                  </a:lnTo>
                  <a:lnTo>
                    <a:pt x="140" y="234"/>
                  </a:lnTo>
                  <a:lnTo>
                    <a:pt x="310" y="473"/>
                  </a:lnTo>
                  <a:lnTo>
                    <a:pt x="393" y="473"/>
                  </a:lnTo>
                  <a:lnTo>
                    <a:pt x="185" y="191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6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64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" name="Freeform 87"/>
            <p:cNvSpPr>
              <a:spLocks noEditPoints="1"/>
            </p:cNvSpPr>
            <p:nvPr userDrawn="1"/>
          </p:nvSpPr>
          <p:spPr bwMode="black">
            <a:xfrm>
              <a:off x="-1037" y="1936"/>
              <a:ext cx="433" cy="483"/>
            </a:xfrm>
            <a:custGeom>
              <a:avLst/>
              <a:gdLst>
                <a:gd name="T0" fmla="*/ 82 w 183"/>
                <a:gd name="T1" fmla="*/ 50 h 204"/>
                <a:gd name="T2" fmla="*/ 157 w 183"/>
                <a:gd name="T3" fmla="*/ 40 h 204"/>
                <a:gd name="T4" fmla="*/ 154 w 183"/>
                <a:gd name="T5" fmla="*/ 18 h 204"/>
                <a:gd name="T6" fmla="*/ 82 w 183"/>
                <a:gd name="T7" fmla="*/ 26 h 204"/>
                <a:gd name="T8" fmla="*/ 85 w 183"/>
                <a:gd name="T9" fmla="*/ 1 h 204"/>
                <a:gd name="T10" fmla="*/ 62 w 183"/>
                <a:gd name="T11" fmla="*/ 0 h 204"/>
                <a:gd name="T12" fmla="*/ 60 w 183"/>
                <a:gd name="T13" fmla="*/ 30 h 204"/>
                <a:gd name="T14" fmla="*/ 11 w 183"/>
                <a:gd name="T15" fmla="*/ 36 h 204"/>
                <a:gd name="T16" fmla="*/ 13 w 183"/>
                <a:gd name="T17" fmla="*/ 57 h 204"/>
                <a:gd name="T18" fmla="*/ 60 w 183"/>
                <a:gd name="T19" fmla="*/ 52 h 204"/>
                <a:gd name="T20" fmla="*/ 60 w 183"/>
                <a:gd name="T21" fmla="*/ 77 h 204"/>
                <a:gd name="T22" fmla="*/ 16 w 183"/>
                <a:gd name="T23" fmla="*/ 104 h 204"/>
                <a:gd name="T24" fmla="*/ 0 w 183"/>
                <a:gd name="T25" fmla="*/ 146 h 204"/>
                <a:gd name="T26" fmla="*/ 11 w 183"/>
                <a:gd name="T27" fmla="*/ 175 h 204"/>
                <a:gd name="T28" fmla="*/ 39 w 183"/>
                <a:gd name="T29" fmla="*/ 186 h 204"/>
                <a:gd name="T30" fmla="*/ 75 w 183"/>
                <a:gd name="T31" fmla="*/ 176 h 204"/>
                <a:gd name="T32" fmla="*/ 78 w 183"/>
                <a:gd name="T33" fmla="*/ 185 h 204"/>
                <a:gd name="T34" fmla="*/ 100 w 183"/>
                <a:gd name="T35" fmla="*/ 176 h 204"/>
                <a:gd name="T36" fmla="*/ 94 w 183"/>
                <a:gd name="T37" fmla="*/ 162 h 204"/>
                <a:gd name="T38" fmla="*/ 134 w 183"/>
                <a:gd name="T39" fmla="*/ 96 h 204"/>
                <a:gd name="T40" fmla="*/ 154 w 183"/>
                <a:gd name="T41" fmla="*/ 111 h 204"/>
                <a:gd name="T42" fmla="*/ 161 w 183"/>
                <a:gd name="T43" fmla="*/ 133 h 204"/>
                <a:gd name="T44" fmla="*/ 107 w 183"/>
                <a:gd name="T45" fmla="*/ 184 h 204"/>
                <a:gd name="T46" fmla="*/ 120 w 183"/>
                <a:gd name="T47" fmla="*/ 204 h 204"/>
                <a:gd name="T48" fmla="*/ 166 w 183"/>
                <a:gd name="T49" fmla="*/ 173 h 204"/>
                <a:gd name="T50" fmla="*/ 183 w 183"/>
                <a:gd name="T51" fmla="*/ 131 h 204"/>
                <a:gd name="T52" fmla="*/ 161 w 183"/>
                <a:gd name="T53" fmla="*/ 87 h 204"/>
                <a:gd name="T54" fmla="*/ 109 w 183"/>
                <a:gd name="T55" fmla="*/ 69 h 204"/>
                <a:gd name="T56" fmla="*/ 82 w 183"/>
                <a:gd name="T57" fmla="*/ 72 h 204"/>
                <a:gd name="T58" fmla="*/ 82 w 183"/>
                <a:gd name="T59" fmla="*/ 50 h 204"/>
                <a:gd name="T60" fmla="*/ 88 w 183"/>
                <a:gd name="T61" fmla="*/ 136 h 204"/>
                <a:gd name="T62" fmla="*/ 84 w 183"/>
                <a:gd name="T63" fmla="*/ 94 h 204"/>
                <a:gd name="T64" fmla="*/ 106 w 183"/>
                <a:gd name="T65" fmla="*/ 92 h 204"/>
                <a:gd name="T66" fmla="*/ 112 w 183"/>
                <a:gd name="T67" fmla="*/ 92 h 204"/>
                <a:gd name="T68" fmla="*/ 88 w 183"/>
                <a:gd name="T69" fmla="*/ 136 h 204"/>
                <a:gd name="T70" fmla="*/ 42 w 183"/>
                <a:gd name="T71" fmla="*/ 163 h 204"/>
                <a:gd name="T72" fmla="*/ 27 w 183"/>
                <a:gd name="T73" fmla="*/ 158 h 204"/>
                <a:gd name="T74" fmla="*/ 22 w 183"/>
                <a:gd name="T75" fmla="*/ 144 h 204"/>
                <a:gd name="T76" fmla="*/ 33 w 183"/>
                <a:gd name="T77" fmla="*/ 118 h 204"/>
                <a:gd name="T78" fmla="*/ 62 w 183"/>
                <a:gd name="T79" fmla="*/ 99 h 204"/>
                <a:gd name="T80" fmla="*/ 68 w 183"/>
                <a:gd name="T81" fmla="*/ 154 h 204"/>
                <a:gd name="T82" fmla="*/ 42 w 183"/>
                <a:gd name="T83" fmla="*/ 16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3" h="204">
                  <a:moveTo>
                    <a:pt x="82" y="50"/>
                  </a:moveTo>
                  <a:cubicBezTo>
                    <a:pt x="157" y="40"/>
                    <a:pt x="157" y="40"/>
                    <a:pt x="157" y="40"/>
                  </a:cubicBezTo>
                  <a:cubicBezTo>
                    <a:pt x="154" y="18"/>
                    <a:pt x="154" y="18"/>
                    <a:pt x="154" y="18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3" y="15"/>
                    <a:pt x="84" y="7"/>
                    <a:pt x="85" y="1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63"/>
                    <a:pt x="60" y="71"/>
                    <a:pt x="60" y="77"/>
                  </a:cubicBezTo>
                  <a:cubicBezTo>
                    <a:pt x="42" y="83"/>
                    <a:pt x="27" y="92"/>
                    <a:pt x="16" y="104"/>
                  </a:cubicBezTo>
                  <a:cubicBezTo>
                    <a:pt x="5" y="117"/>
                    <a:pt x="0" y="131"/>
                    <a:pt x="0" y="146"/>
                  </a:cubicBezTo>
                  <a:cubicBezTo>
                    <a:pt x="0" y="158"/>
                    <a:pt x="4" y="167"/>
                    <a:pt x="11" y="175"/>
                  </a:cubicBezTo>
                  <a:cubicBezTo>
                    <a:pt x="19" y="183"/>
                    <a:pt x="28" y="186"/>
                    <a:pt x="39" y="186"/>
                  </a:cubicBezTo>
                  <a:cubicBezTo>
                    <a:pt x="52" y="186"/>
                    <a:pt x="64" y="183"/>
                    <a:pt x="75" y="176"/>
                  </a:cubicBezTo>
                  <a:cubicBezTo>
                    <a:pt x="78" y="185"/>
                    <a:pt x="78" y="185"/>
                    <a:pt x="78" y="185"/>
                  </a:cubicBezTo>
                  <a:cubicBezTo>
                    <a:pt x="100" y="176"/>
                    <a:pt x="100" y="176"/>
                    <a:pt x="100" y="176"/>
                  </a:cubicBezTo>
                  <a:cubicBezTo>
                    <a:pt x="97" y="171"/>
                    <a:pt x="95" y="167"/>
                    <a:pt x="94" y="162"/>
                  </a:cubicBezTo>
                  <a:cubicBezTo>
                    <a:pt x="110" y="149"/>
                    <a:pt x="124" y="127"/>
                    <a:pt x="134" y="96"/>
                  </a:cubicBezTo>
                  <a:cubicBezTo>
                    <a:pt x="142" y="99"/>
                    <a:pt x="149" y="104"/>
                    <a:pt x="154" y="111"/>
                  </a:cubicBezTo>
                  <a:cubicBezTo>
                    <a:pt x="159" y="117"/>
                    <a:pt x="161" y="125"/>
                    <a:pt x="161" y="133"/>
                  </a:cubicBezTo>
                  <a:cubicBezTo>
                    <a:pt x="161" y="152"/>
                    <a:pt x="143" y="169"/>
                    <a:pt x="107" y="184"/>
                  </a:cubicBezTo>
                  <a:cubicBezTo>
                    <a:pt x="120" y="204"/>
                    <a:pt x="120" y="204"/>
                    <a:pt x="120" y="204"/>
                  </a:cubicBezTo>
                  <a:cubicBezTo>
                    <a:pt x="138" y="197"/>
                    <a:pt x="154" y="186"/>
                    <a:pt x="166" y="173"/>
                  </a:cubicBezTo>
                  <a:cubicBezTo>
                    <a:pt x="177" y="159"/>
                    <a:pt x="183" y="146"/>
                    <a:pt x="183" y="131"/>
                  </a:cubicBezTo>
                  <a:cubicBezTo>
                    <a:pt x="183" y="113"/>
                    <a:pt x="176" y="98"/>
                    <a:pt x="161" y="87"/>
                  </a:cubicBezTo>
                  <a:cubicBezTo>
                    <a:pt x="146" y="75"/>
                    <a:pt x="129" y="69"/>
                    <a:pt x="109" y="69"/>
                  </a:cubicBezTo>
                  <a:cubicBezTo>
                    <a:pt x="97" y="69"/>
                    <a:pt x="88" y="70"/>
                    <a:pt x="82" y="72"/>
                  </a:cubicBezTo>
                  <a:lnTo>
                    <a:pt x="82" y="50"/>
                  </a:lnTo>
                  <a:close/>
                  <a:moveTo>
                    <a:pt x="88" y="136"/>
                  </a:moveTo>
                  <a:cubicBezTo>
                    <a:pt x="86" y="126"/>
                    <a:pt x="85" y="112"/>
                    <a:pt x="84" y="94"/>
                  </a:cubicBezTo>
                  <a:cubicBezTo>
                    <a:pt x="91" y="93"/>
                    <a:pt x="98" y="92"/>
                    <a:pt x="106" y="92"/>
                  </a:cubicBezTo>
                  <a:cubicBezTo>
                    <a:pt x="109" y="92"/>
                    <a:pt x="111" y="92"/>
                    <a:pt x="112" y="92"/>
                  </a:cubicBezTo>
                  <a:cubicBezTo>
                    <a:pt x="104" y="114"/>
                    <a:pt x="96" y="128"/>
                    <a:pt x="88" y="136"/>
                  </a:cubicBezTo>
                  <a:close/>
                  <a:moveTo>
                    <a:pt x="42" y="163"/>
                  </a:moveTo>
                  <a:cubicBezTo>
                    <a:pt x="36" y="163"/>
                    <a:pt x="31" y="162"/>
                    <a:pt x="27" y="158"/>
                  </a:cubicBezTo>
                  <a:cubicBezTo>
                    <a:pt x="24" y="154"/>
                    <a:pt x="22" y="150"/>
                    <a:pt x="22" y="144"/>
                  </a:cubicBezTo>
                  <a:cubicBezTo>
                    <a:pt x="22" y="135"/>
                    <a:pt x="26" y="126"/>
                    <a:pt x="33" y="118"/>
                  </a:cubicBezTo>
                  <a:cubicBezTo>
                    <a:pt x="41" y="109"/>
                    <a:pt x="50" y="103"/>
                    <a:pt x="62" y="99"/>
                  </a:cubicBezTo>
                  <a:cubicBezTo>
                    <a:pt x="62" y="115"/>
                    <a:pt x="65" y="133"/>
                    <a:pt x="68" y="154"/>
                  </a:cubicBezTo>
                  <a:cubicBezTo>
                    <a:pt x="58" y="160"/>
                    <a:pt x="50" y="163"/>
                    <a:pt x="42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" name="Freeform 88"/>
            <p:cNvSpPr>
              <a:spLocks noEditPoints="1"/>
            </p:cNvSpPr>
            <p:nvPr userDrawn="1"/>
          </p:nvSpPr>
          <p:spPr bwMode="black">
            <a:xfrm>
              <a:off x="-526" y="1941"/>
              <a:ext cx="338" cy="492"/>
            </a:xfrm>
            <a:custGeom>
              <a:avLst/>
              <a:gdLst>
                <a:gd name="T0" fmla="*/ 117 w 143"/>
                <a:gd name="T1" fmla="*/ 2 h 208"/>
                <a:gd name="T2" fmla="*/ 120 w 143"/>
                <a:gd name="T3" fmla="*/ 66 h 208"/>
                <a:gd name="T4" fmla="*/ 117 w 143"/>
                <a:gd name="T5" fmla="*/ 117 h 208"/>
                <a:gd name="T6" fmla="*/ 102 w 143"/>
                <a:gd name="T7" fmla="*/ 158 h 208"/>
                <a:gd name="T8" fmla="*/ 68 w 143"/>
                <a:gd name="T9" fmla="*/ 189 h 208"/>
                <a:gd name="T10" fmla="*/ 84 w 143"/>
                <a:gd name="T11" fmla="*/ 208 h 208"/>
                <a:gd name="T12" fmla="*/ 128 w 143"/>
                <a:gd name="T13" fmla="*/ 160 h 208"/>
                <a:gd name="T14" fmla="*/ 143 w 143"/>
                <a:gd name="T15" fmla="*/ 67 h 208"/>
                <a:gd name="T16" fmla="*/ 140 w 143"/>
                <a:gd name="T17" fmla="*/ 0 h 208"/>
                <a:gd name="T18" fmla="*/ 117 w 143"/>
                <a:gd name="T19" fmla="*/ 2 h 208"/>
                <a:gd name="T20" fmla="*/ 39 w 143"/>
                <a:gd name="T21" fmla="*/ 68 h 208"/>
                <a:gd name="T22" fmla="*/ 25 w 143"/>
                <a:gd name="T23" fmla="*/ 98 h 208"/>
                <a:gd name="T24" fmla="*/ 25 w 143"/>
                <a:gd name="T25" fmla="*/ 98 h 208"/>
                <a:gd name="T26" fmla="*/ 22 w 143"/>
                <a:gd name="T27" fmla="*/ 57 h 208"/>
                <a:gd name="T28" fmla="*/ 27 w 143"/>
                <a:gd name="T29" fmla="*/ 10 h 208"/>
                <a:gd name="T30" fmla="*/ 5 w 143"/>
                <a:gd name="T31" fmla="*/ 6 h 208"/>
                <a:gd name="T32" fmla="*/ 0 w 143"/>
                <a:gd name="T33" fmla="*/ 57 h 208"/>
                <a:gd name="T34" fmla="*/ 4 w 143"/>
                <a:gd name="T35" fmla="*/ 104 h 208"/>
                <a:gd name="T36" fmla="*/ 14 w 143"/>
                <a:gd name="T37" fmla="*/ 155 h 208"/>
                <a:gd name="T38" fmla="*/ 30 w 143"/>
                <a:gd name="T39" fmla="*/ 155 h 208"/>
                <a:gd name="T40" fmla="*/ 56 w 143"/>
                <a:gd name="T41" fmla="*/ 78 h 208"/>
                <a:gd name="T42" fmla="*/ 39 w 143"/>
                <a:gd name="T43" fmla="*/ 6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" h="208">
                  <a:moveTo>
                    <a:pt x="117" y="2"/>
                  </a:moveTo>
                  <a:cubicBezTo>
                    <a:pt x="119" y="19"/>
                    <a:pt x="120" y="40"/>
                    <a:pt x="120" y="66"/>
                  </a:cubicBezTo>
                  <a:cubicBezTo>
                    <a:pt x="120" y="85"/>
                    <a:pt x="119" y="103"/>
                    <a:pt x="117" y="117"/>
                  </a:cubicBezTo>
                  <a:cubicBezTo>
                    <a:pt x="114" y="132"/>
                    <a:pt x="109" y="145"/>
                    <a:pt x="102" y="158"/>
                  </a:cubicBezTo>
                  <a:cubicBezTo>
                    <a:pt x="94" y="170"/>
                    <a:pt x="83" y="181"/>
                    <a:pt x="68" y="189"/>
                  </a:cubicBezTo>
                  <a:cubicBezTo>
                    <a:pt x="84" y="208"/>
                    <a:pt x="84" y="208"/>
                    <a:pt x="84" y="208"/>
                  </a:cubicBezTo>
                  <a:cubicBezTo>
                    <a:pt x="104" y="196"/>
                    <a:pt x="118" y="180"/>
                    <a:pt x="128" y="160"/>
                  </a:cubicBezTo>
                  <a:cubicBezTo>
                    <a:pt x="138" y="140"/>
                    <a:pt x="143" y="109"/>
                    <a:pt x="143" y="67"/>
                  </a:cubicBezTo>
                  <a:cubicBezTo>
                    <a:pt x="143" y="49"/>
                    <a:pt x="142" y="27"/>
                    <a:pt x="140" y="0"/>
                  </a:cubicBezTo>
                  <a:lnTo>
                    <a:pt x="117" y="2"/>
                  </a:lnTo>
                  <a:close/>
                  <a:moveTo>
                    <a:pt x="39" y="68"/>
                  </a:moveTo>
                  <a:cubicBezTo>
                    <a:pt x="34" y="75"/>
                    <a:pt x="30" y="85"/>
                    <a:pt x="25" y="98"/>
                  </a:cubicBezTo>
                  <a:cubicBezTo>
                    <a:pt x="25" y="98"/>
                    <a:pt x="25" y="98"/>
                    <a:pt x="25" y="98"/>
                  </a:cubicBezTo>
                  <a:cubicBezTo>
                    <a:pt x="23" y="82"/>
                    <a:pt x="22" y="68"/>
                    <a:pt x="22" y="57"/>
                  </a:cubicBezTo>
                  <a:cubicBezTo>
                    <a:pt x="22" y="38"/>
                    <a:pt x="24" y="23"/>
                    <a:pt x="27" y="10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2" y="18"/>
                    <a:pt x="0" y="35"/>
                    <a:pt x="0" y="57"/>
                  </a:cubicBezTo>
                  <a:cubicBezTo>
                    <a:pt x="0" y="69"/>
                    <a:pt x="2" y="85"/>
                    <a:pt x="4" y="104"/>
                  </a:cubicBezTo>
                  <a:cubicBezTo>
                    <a:pt x="7" y="124"/>
                    <a:pt x="10" y="141"/>
                    <a:pt x="14" y="155"/>
                  </a:cubicBezTo>
                  <a:cubicBezTo>
                    <a:pt x="30" y="155"/>
                    <a:pt x="30" y="155"/>
                    <a:pt x="30" y="155"/>
                  </a:cubicBezTo>
                  <a:cubicBezTo>
                    <a:pt x="34" y="129"/>
                    <a:pt x="43" y="103"/>
                    <a:pt x="56" y="78"/>
                  </a:cubicBezTo>
                  <a:lnTo>
                    <a:pt x="39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" name="Freeform 89"/>
            <p:cNvSpPr>
              <a:spLocks noEditPoints="1"/>
            </p:cNvSpPr>
            <p:nvPr userDrawn="1"/>
          </p:nvSpPr>
          <p:spPr bwMode="black">
            <a:xfrm>
              <a:off x="-91" y="1915"/>
              <a:ext cx="511" cy="488"/>
            </a:xfrm>
            <a:custGeom>
              <a:avLst/>
              <a:gdLst>
                <a:gd name="T0" fmla="*/ 205 w 216"/>
                <a:gd name="T1" fmla="*/ 0 h 206"/>
                <a:gd name="T2" fmla="*/ 187 w 216"/>
                <a:gd name="T3" fmla="*/ 8 h 206"/>
                <a:gd name="T4" fmla="*/ 199 w 216"/>
                <a:gd name="T5" fmla="*/ 40 h 206"/>
                <a:gd name="T6" fmla="*/ 216 w 216"/>
                <a:gd name="T7" fmla="*/ 33 h 206"/>
                <a:gd name="T8" fmla="*/ 205 w 216"/>
                <a:gd name="T9" fmla="*/ 0 h 206"/>
                <a:gd name="T10" fmla="*/ 102 w 216"/>
                <a:gd name="T11" fmla="*/ 8 h 206"/>
                <a:gd name="T12" fmla="*/ 80 w 216"/>
                <a:gd name="T13" fmla="*/ 3 h 206"/>
                <a:gd name="T14" fmla="*/ 66 w 216"/>
                <a:gd name="T15" fmla="*/ 55 h 206"/>
                <a:gd name="T16" fmla="*/ 18 w 216"/>
                <a:gd name="T17" fmla="*/ 60 h 206"/>
                <a:gd name="T18" fmla="*/ 21 w 216"/>
                <a:gd name="T19" fmla="*/ 83 h 206"/>
                <a:gd name="T20" fmla="*/ 59 w 216"/>
                <a:gd name="T21" fmla="*/ 78 h 206"/>
                <a:gd name="T22" fmla="*/ 0 w 216"/>
                <a:gd name="T23" fmla="*/ 184 h 206"/>
                <a:gd name="T24" fmla="*/ 21 w 216"/>
                <a:gd name="T25" fmla="*/ 196 h 206"/>
                <a:gd name="T26" fmla="*/ 48 w 216"/>
                <a:gd name="T27" fmla="*/ 157 h 206"/>
                <a:gd name="T28" fmla="*/ 82 w 216"/>
                <a:gd name="T29" fmla="*/ 76 h 206"/>
                <a:gd name="T30" fmla="*/ 93 w 216"/>
                <a:gd name="T31" fmla="*/ 76 h 206"/>
                <a:gd name="T32" fmla="*/ 109 w 216"/>
                <a:gd name="T33" fmla="*/ 79 h 206"/>
                <a:gd name="T34" fmla="*/ 118 w 216"/>
                <a:gd name="T35" fmla="*/ 88 h 206"/>
                <a:gd name="T36" fmla="*/ 120 w 216"/>
                <a:gd name="T37" fmla="*/ 105 h 206"/>
                <a:gd name="T38" fmla="*/ 117 w 216"/>
                <a:gd name="T39" fmla="*/ 154 h 206"/>
                <a:gd name="T40" fmla="*/ 108 w 216"/>
                <a:gd name="T41" fmla="*/ 179 h 206"/>
                <a:gd name="T42" fmla="*/ 95 w 216"/>
                <a:gd name="T43" fmla="*/ 185 h 206"/>
                <a:gd name="T44" fmla="*/ 71 w 216"/>
                <a:gd name="T45" fmla="*/ 179 h 206"/>
                <a:gd name="T46" fmla="*/ 68 w 216"/>
                <a:gd name="T47" fmla="*/ 202 h 206"/>
                <a:gd name="T48" fmla="*/ 94 w 216"/>
                <a:gd name="T49" fmla="*/ 206 h 206"/>
                <a:gd name="T50" fmla="*/ 121 w 216"/>
                <a:gd name="T51" fmla="*/ 199 h 206"/>
                <a:gd name="T52" fmla="*/ 137 w 216"/>
                <a:gd name="T53" fmla="*/ 165 h 206"/>
                <a:gd name="T54" fmla="*/ 142 w 216"/>
                <a:gd name="T55" fmla="*/ 106 h 206"/>
                <a:gd name="T56" fmla="*/ 141 w 216"/>
                <a:gd name="T57" fmla="*/ 89 h 206"/>
                <a:gd name="T58" fmla="*/ 137 w 216"/>
                <a:gd name="T59" fmla="*/ 75 h 206"/>
                <a:gd name="T60" fmla="*/ 125 w 216"/>
                <a:gd name="T61" fmla="*/ 62 h 206"/>
                <a:gd name="T62" fmla="*/ 108 w 216"/>
                <a:gd name="T63" fmla="*/ 56 h 206"/>
                <a:gd name="T64" fmla="*/ 89 w 216"/>
                <a:gd name="T65" fmla="*/ 55 h 206"/>
                <a:gd name="T66" fmla="*/ 102 w 216"/>
                <a:gd name="T67" fmla="*/ 8 h 206"/>
                <a:gd name="T68" fmla="*/ 178 w 216"/>
                <a:gd name="T69" fmla="*/ 10 h 206"/>
                <a:gd name="T70" fmla="*/ 160 w 216"/>
                <a:gd name="T71" fmla="*/ 17 h 206"/>
                <a:gd name="T72" fmla="*/ 172 w 216"/>
                <a:gd name="T73" fmla="*/ 50 h 206"/>
                <a:gd name="T74" fmla="*/ 189 w 216"/>
                <a:gd name="T75" fmla="*/ 43 h 206"/>
                <a:gd name="T76" fmla="*/ 178 w 216"/>
                <a:gd name="T77" fmla="*/ 10 h 206"/>
                <a:gd name="T78" fmla="*/ 146 w 216"/>
                <a:gd name="T79" fmla="*/ 23 h 206"/>
                <a:gd name="T80" fmla="*/ 124 w 216"/>
                <a:gd name="T81" fmla="*/ 33 h 206"/>
                <a:gd name="T82" fmla="*/ 153 w 216"/>
                <a:gd name="T83" fmla="*/ 105 h 206"/>
                <a:gd name="T84" fmla="*/ 176 w 216"/>
                <a:gd name="T85" fmla="*/ 99 h 206"/>
                <a:gd name="T86" fmla="*/ 146 w 216"/>
                <a:gd name="T87" fmla="*/ 2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6" h="206">
                  <a:moveTo>
                    <a:pt x="205" y="0"/>
                  </a:moveTo>
                  <a:cubicBezTo>
                    <a:pt x="187" y="8"/>
                    <a:pt x="187" y="8"/>
                    <a:pt x="187" y="8"/>
                  </a:cubicBezTo>
                  <a:cubicBezTo>
                    <a:pt x="192" y="16"/>
                    <a:pt x="196" y="27"/>
                    <a:pt x="199" y="40"/>
                  </a:cubicBezTo>
                  <a:cubicBezTo>
                    <a:pt x="216" y="33"/>
                    <a:pt x="216" y="33"/>
                    <a:pt x="216" y="33"/>
                  </a:cubicBezTo>
                  <a:cubicBezTo>
                    <a:pt x="213" y="20"/>
                    <a:pt x="210" y="9"/>
                    <a:pt x="205" y="0"/>
                  </a:cubicBezTo>
                  <a:close/>
                  <a:moveTo>
                    <a:pt x="102" y="8"/>
                  </a:moveTo>
                  <a:cubicBezTo>
                    <a:pt x="80" y="3"/>
                    <a:pt x="80" y="3"/>
                    <a:pt x="80" y="3"/>
                  </a:cubicBezTo>
                  <a:cubicBezTo>
                    <a:pt x="79" y="13"/>
                    <a:pt x="74" y="31"/>
                    <a:pt x="66" y="55"/>
                  </a:cubicBezTo>
                  <a:cubicBezTo>
                    <a:pt x="55" y="56"/>
                    <a:pt x="39" y="57"/>
                    <a:pt x="18" y="60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33" y="81"/>
                    <a:pt x="46" y="79"/>
                    <a:pt x="59" y="78"/>
                  </a:cubicBezTo>
                  <a:cubicBezTo>
                    <a:pt x="41" y="129"/>
                    <a:pt x="21" y="165"/>
                    <a:pt x="0" y="184"/>
                  </a:cubicBezTo>
                  <a:cubicBezTo>
                    <a:pt x="21" y="196"/>
                    <a:pt x="21" y="196"/>
                    <a:pt x="21" y="196"/>
                  </a:cubicBezTo>
                  <a:cubicBezTo>
                    <a:pt x="29" y="187"/>
                    <a:pt x="38" y="173"/>
                    <a:pt x="48" y="157"/>
                  </a:cubicBezTo>
                  <a:cubicBezTo>
                    <a:pt x="57" y="140"/>
                    <a:pt x="69" y="113"/>
                    <a:pt x="82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9" y="76"/>
                    <a:pt x="104" y="77"/>
                    <a:pt x="109" y="79"/>
                  </a:cubicBezTo>
                  <a:cubicBezTo>
                    <a:pt x="114" y="81"/>
                    <a:pt x="117" y="84"/>
                    <a:pt x="118" y="88"/>
                  </a:cubicBezTo>
                  <a:cubicBezTo>
                    <a:pt x="120" y="91"/>
                    <a:pt x="120" y="97"/>
                    <a:pt x="120" y="105"/>
                  </a:cubicBezTo>
                  <a:cubicBezTo>
                    <a:pt x="120" y="125"/>
                    <a:pt x="119" y="141"/>
                    <a:pt x="117" y="154"/>
                  </a:cubicBezTo>
                  <a:cubicBezTo>
                    <a:pt x="115" y="168"/>
                    <a:pt x="112" y="176"/>
                    <a:pt x="108" y="179"/>
                  </a:cubicBezTo>
                  <a:cubicBezTo>
                    <a:pt x="104" y="183"/>
                    <a:pt x="100" y="185"/>
                    <a:pt x="95" y="185"/>
                  </a:cubicBezTo>
                  <a:cubicBezTo>
                    <a:pt x="89" y="185"/>
                    <a:pt x="81" y="183"/>
                    <a:pt x="71" y="179"/>
                  </a:cubicBezTo>
                  <a:cubicBezTo>
                    <a:pt x="68" y="202"/>
                    <a:pt x="68" y="202"/>
                    <a:pt x="68" y="202"/>
                  </a:cubicBezTo>
                  <a:cubicBezTo>
                    <a:pt x="79" y="205"/>
                    <a:pt x="88" y="206"/>
                    <a:pt x="94" y="206"/>
                  </a:cubicBezTo>
                  <a:cubicBezTo>
                    <a:pt x="105" y="206"/>
                    <a:pt x="114" y="204"/>
                    <a:pt x="121" y="199"/>
                  </a:cubicBezTo>
                  <a:cubicBezTo>
                    <a:pt x="128" y="193"/>
                    <a:pt x="133" y="182"/>
                    <a:pt x="137" y="165"/>
                  </a:cubicBezTo>
                  <a:cubicBezTo>
                    <a:pt x="140" y="147"/>
                    <a:pt x="142" y="128"/>
                    <a:pt x="142" y="106"/>
                  </a:cubicBezTo>
                  <a:cubicBezTo>
                    <a:pt x="142" y="99"/>
                    <a:pt x="142" y="93"/>
                    <a:pt x="141" y="89"/>
                  </a:cubicBezTo>
                  <a:cubicBezTo>
                    <a:pt x="141" y="84"/>
                    <a:pt x="139" y="80"/>
                    <a:pt x="137" y="75"/>
                  </a:cubicBezTo>
                  <a:cubicBezTo>
                    <a:pt x="135" y="70"/>
                    <a:pt x="131" y="66"/>
                    <a:pt x="125" y="62"/>
                  </a:cubicBezTo>
                  <a:cubicBezTo>
                    <a:pt x="120" y="59"/>
                    <a:pt x="114" y="57"/>
                    <a:pt x="108" y="56"/>
                  </a:cubicBezTo>
                  <a:cubicBezTo>
                    <a:pt x="102" y="55"/>
                    <a:pt x="96" y="55"/>
                    <a:pt x="89" y="55"/>
                  </a:cubicBezTo>
                  <a:cubicBezTo>
                    <a:pt x="93" y="42"/>
                    <a:pt x="97" y="26"/>
                    <a:pt x="102" y="8"/>
                  </a:cubicBezTo>
                  <a:close/>
                  <a:moveTo>
                    <a:pt x="178" y="10"/>
                  </a:moveTo>
                  <a:cubicBezTo>
                    <a:pt x="160" y="17"/>
                    <a:pt x="160" y="17"/>
                    <a:pt x="160" y="17"/>
                  </a:cubicBezTo>
                  <a:cubicBezTo>
                    <a:pt x="165" y="26"/>
                    <a:pt x="169" y="37"/>
                    <a:pt x="172" y="50"/>
                  </a:cubicBezTo>
                  <a:cubicBezTo>
                    <a:pt x="189" y="43"/>
                    <a:pt x="189" y="43"/>
                    <a:pt x="189" y="43"/>
                  </a:cubicBezTo>
                  <a:cubicBezTo>
                    <a:pt x="186" y="30"/>
                    <a:pt x="183" y="19"/>
                    <a:pt x="178" y="10"/>
                  </a:cubicBezTo>
                  <a:close/>
                  <a:moveTo>
                    <a:pt x="146" y="23"/>
                  </a:moveTo>
                  <a:cubicBezTo>
                    <a:pt x="124" y="33"/>
                    <a:pt x="124" y="33"/>
                    <a:pt x="124" y="33"/>
                  </a:cubicBezTo>
                  <a:cubicBezTo>
                    <a:pt x="140" y="53"/>
                    <a:pt x="150" y="77"/>
                    <a:pt x="153" y="105"/>
                  </a:cubicBezTo>
                  <a:cubicBezTo>
                    <a:pt x="176" y="99"/>
                    <a:pt x="176" y="99"/>
                    <a:pt x="176" y="99"/>
                  </a:cubicBezTo>
                  <a:cubicBezTo>
                    <a:pt x="173" y="74"/>
                    <a:pt x="163" y="49"/>
                    <a:pt x="146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0" name="Freeform 90"/>
            <p:cNvSpPr>
              <a:spLocks/>
            </p:cNvSpPr>
            <p:nvPr userDrawn="1"/>
          </p:nvSpPr>
          <p:spPr bwMode="black">
            <a:xfrm>
              <a:off x="481" y="1939"/>
              <a:ext cx="381" cy="440"/>
            </a:xfrm>
            <a:custGeom>
              <a:avLst/>
              <a:gdLst>
                <a:gd name="T0" fmla="*/ 157 w 161"/>
                <a:gd name="T1" fmla="*/ 159 h 186"/>
                <a:gd name="T2" fmla="*/ 96 w 161"/>
                <a:gd name="T3" fmla="*/ 165 h 186"/>
                <a:gd name="T4" fmla="*/ 43 w 161"/>
                <a:gd name="T5" fmla="*/ 158 h 186"/>
                <a:gd name="T6" fmla="*/ 23 w 161"/>
                <a:gd name="T7" fmla="*/ 138 h 186"/>
                <a:gd name="T8" fmla="*/ 35 w 161"/>
                <a:gd name="T9" fmla="*/ 111 h 186"/>
                <a:gd name="T10" fmla="*/ 77 w 161"/>
                <a:gd name="T11" fmla="*/ 88 h 186"/>
                <a:gd name="T12" fmla="*/ 146 w 161"/>
                <a:gd name="T13" fmla="*/ 73 h 186"/>
                <a:gd name="T14" fmla="*/ 140 w 161"/>
                <a:gd name="T15" fmla="*/ 50 h 186"/>
                <a:gd name="T16" fmla="*/ 64 w 161"/>
                <a:gd name="T17" fmla="*/ 69 h 186"/>
                <a:gd name="T18" fmla="*/ 54 w 161"/>
                <a:gd name="T19" fmla="*/ 0 h 186"/>
                <a:gd name="T20" fmla="*/ 29 w 161"/>
                <a:gd name="T21" fmla="*/ 4 h 186"/>
                <a:gd name="T22" fmla="*/ 43 w 161"/>
                <a:gd name="T23" fmla="*/ 79 h 186"/>
                <a:gd name="T24" fmla="*/ 12 w 161"/>
                <a:gd name="T25" fmla="*/ 104 h 186"/>
                <a:gd name="T26" fmla="*/ 0 w 161"/>
                <a:gd name="T27" fmla="*/ 137 h 186"/>
                <a:gd name="T28" fmla="*/ 20 w 161"/>
                <a:gd name="T29" fmla="*/ 173 h 186"/>
                <a:gd name="T30" fmla="*/ 107 w 161"/>
                <a:gd name="T31" fmla="*/ 186 h 186"/>
                <a:gd name="T32" fmla="*/ 161 w 161"/>
                <a:gd name="T33" fmla="*/ 184 h 186"/>
                <a:gd name="T34" fmla="*/ 157 w 161"/>
                <a:gd name="T35" fmla="*/ 159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86">
                  <a:moveTo>
                    <a:pt x="157" y="159"/>
                  </a:moveTo>
                  <a:cubicBezTo>
                    <a:pt x="137" y="163"/>
                    <a:pt x="117" y="165"/>
                    <a:pt x="96" y="165"/>
                  </a:cubicBezTo>
                  <a:cubicBezTo>
                    <a:pt x="74" y="165"/>
                    <a:pt x="56" y="163"/>
                    <a:pt x="43" y="158"/>
                  </a:cubicBezTo>
                  <a:cubicBezTo>
                    <a:pt x="29" y="154"/>
                    <a:pt x="23" y="148"/>
                    <a:pt x="23" y="138"/>
                  </a:cubicBezTo>
                  <a:cubicBezTo>
                    <a:pt x="23" y="129"/>
                    <a:pt x="27" y="120"/>
                    <a:pt x="35" y="111"/>
                  </a:cubicBezTo>
                  <a:cubicBezTo>
                    <a:pt x="43" y="103"/>
                    <a:pt x="57" y="95"/>
                    <a:pt x="77" y="88"/>
                  </a:cubicBezTo>
                  <a:cubicBezTo>
                    <a:pt x="97" y="81"/>
                    <a:pt x="120" y="76"/>
                    <a:pt x="146" y="73"/>
                  </a:cubicBezTo>
                  <a:cubicBezTo>
                    <a:pt x="140" y="50"/>
                    <a:pt x="140" y="50"/>
                    <a:pt x="140" y="50"/>
                  </a:cubicBezTo>
                  <a:cubicBezTo>
                    <a:pt x="113" y="54"/>
                    <a:pt x="88" y="61"/>
                    <a:pt x="64" y="69"/>
                  </a:cubicBezTo>
                  <a:cubicBezTo>
                    <a:pt x="57" y="50"/>
                    <a:pt x="54" y="27"/>
                    <a:pt x="54" y="0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2" y="30"/>
                    <a:pt x="36" y="55"/>
                    <a:pt x="43" y="79"/>
                  </a:cubicBezTo>
                  <a:cubicBezTo>
                    <a:pt x="30" y="85"/>
                    <a:pt x="20" y="93"/>
                    <a:pt x="12" y="104"/>
                  </a:cubicBezTo>
                  <a:cubicBezTo>
                    <a:pt x="4" y="114"/>
                    <a:pt x="0" y="125"/>
                    <a:pt x="0" y="137"/>
                  </a:cubicBezTo>
                  <a:cubicBezTo>
                    <a:pt x="0" y="151"/>
                    <a:pt x="7" y="163"/>
                    <a:pt x="20" y="173"/>
                  </a:cubicBezTo>
                  <a:cubicBezTo>
                    <a:pt x="33" y="182"/>
                    <a:pt x="62" y="186"/>
                    <a:pt x="107" y="186"/>
                  </a:cubicBezTo>
                  <a:cubicBezTo>
                    <a:pt x="123" y="186"/>
                    <a:pt x="141" y="186"/>
                    <a:pt x="161" y="184"/>
                  </a:cubicBezTo>
                  <a:lnTo>
                    <a:pt x="157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1" name="Freeform 91"/>
            <p:cNvSpPr>
              <a:spLocks noEditPoints="1"/>
            </p:cNvSpPr>
            <p:nvPr userDrawn="1"/>
          </p:nvSpPr>
          <p:spPr bwMode="black">
            <a:xfrm>
              <a:off x="885" y="1948"/>
              <a:ext cx="400" cy="459"/>
            </a:xfrm>
            <a:custGeom>
              <a:avLst/>
              <a:gdLst>
                <a:gd name="T0" fmla="*/ 119 w 169"/>
                <a:gd name="T1" fmla="*/ 13 h 194"/>
                <a:gd name="T2" fmla="*/ 42 w 169"/>
                <a:gd name="T3" fmla="*/ 0 h 194"/>
                <a:gd name="T4" fmla="*/ 35 w 169"/>
                <a:gd name="T5" fmla="*/ 22 h 194"/>
                <a:gd name="T6" fmla="*/ 133 w 169"/>
                <a:gd name="T7" fmla="*/ 35 h 194"/>
                <a:gd name="T8" fmla="*/ 138 w 169"/>
                <a:gd name="T9" fmla="*/ 12 h 194"/>
                <a:gd name="T10" fmla="*/ 119 w 169"/>
                <a:gd name="T11" fmla="*/ 13 h 194"/>
                <a:gd name="T12" fmla="*/ 14 w 169"/>
                <a:gd name="T13" fmla="*/ 102 h 194"/>
                <a:gd name="T14" fmla="*/ 105 w 169"/>
                <a:gd name="T15" fmla="*/ 73 h 194"/>
                <a:gd name="T16" fmla="*/ 136 w 169"/>
                <a:gd name="T17" fmla="*/ 82 h 194"/>
                <a:gd name="T18" fmla="*/ 147 w 169"/>
                <a:gd name="T19" fmla="*/ 109 h 194"/>
                <a:gd name="T20" fmla="*/ 120 w 169"/>
                <a:gd name="T21" fmla="*/ 151 h 194"/>
                <a:gd name="T22" fmla="*/ 38 w 169"/>
                <a:gd name="T23" fmla="*/ 171 h 194"/>
                <a:gd name="T24" fmla="*/ 48 w 169"/>
                <a:gd name="T25" fmla="*/ 194 h 194"/>
                <a:gd name="T26" fmla="*/ 104 w 169"/>
                <a:gd name="T27" fmla="*/ 182 h 194"/>
                <a:gd name="T28" fmla="*/ 152 w 169"/>
                <a:gd name="T29" fmla="*/ 151 h 194"/>
                <a:gd name="T30" fmla="*/ 169 w 169"/>
                <a:gd name="T31" fmla="*/ 107 h 194"/>
                <a:gd name="T32" fmla="*/ 151 w 169"/>
                <a:gd name="T33" fmla="*/ 66 h 194"/>
                <a:gd name="T34" fmla="*/ 106 w 169"/>
                <a:gd name="T35" fmla="*/ 51 h 194"/>
                <a:gd name="T36" fmla="*/ 0 w 169"/>
                <a:gd name="T37" fmla="*/ 82 h 194"/>
                <a:gd name="T38" fmla="*/ 14 w 169"/>
                <a:gd name="T39" fmla="*/ 10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9" h="194">
                  <a:moveTo>
                    <a:pt x="119" y="13"/>
                  </a:moveTo>
                  <a:cubicBezTo>
                    <a:pt x="90" y="13"/>
                    <a:pt x="64" y="9"/>
                    <a:pt x="42" y="0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64" y="31"/>
                    <a:pt x="97" y="35"/>
                    <a:pt x="133" y="35"/>
                  </a:cubicBezTo>
                  <a:cubicBezTo>
                    <a:pt x="138" y="12"/>
                    <a:pt x="138" y="12"/>
                    <a:pt x="138" y="12"/>
                  </a:cubicBezTo>
                  <a:cubicBezTo>
                    <a:pt x="134" y="12"/>
                    <a:pt x="128" y="13"/>
                    <a:pt x="119" y="13"/>
                  </a:cubicBezTo>
                  <a:close/>
                  <a:moveTo>
                    <a:pt x="14" y="102"/>
                  </a:moveTo>
                  <a:cubicBezTo>
                    <a:pt x="43" y="83"/>
                    <a:pt x="73" y="73"/>
                    <a:pt x="105" y="73"/>
                  </a:cubicBezTo>
                  <a:cubicBezTo>
                    <a:pt x="118" y="73"/>
                    <a:pt x="128" y="76"/>
                    <a:pt x="136" y="82"/>
                  </a:cubicBezTo>
                  <a:cubicBezTo>
                    <a:pt x="144" y="89"/>
                    <a:pt x="147" y="98"/>
                    <a:pt x="147" y="109"/>
                  </a:cubicBezTo>
                  <a:cubicBezTo>
                    <a:pt x="147" y="125"/>
                    <a:pt x="138" y="138"/>
                    <a:pt x="120" y="151"/>
                  </a:cubicBezTo>
                  <a:cubicBezTo>
                    <a:pt x="101" y="163"/>
                    <a:pt x="74" y="170"/>
                    <a:pt x="38" y="171"/>
                  </a:cubicBezTo>
                  <a:cubicBezTo>
                    <a:pt x="48" y="194"/>
                    <a:pt x="48" y="194"/>
                    <a:pt x="48" y="194"/>
                  </a:cubicBezTo>
                  <a:cubicBezTo>
                    <a:pt x="65" y="193"/>
                    <a:pt x="83" y="189"/>
                    <a:pt x="104" y="182"/>
                  </a:cubicBezTo>
                  <a:cubicBezTo>
                    <a:pt x="125" y="175"/>
                    <a:pt x="141" y="164"/>
                    <a:pt x="152" y="151"/>
                  </a:cubicBezTo>
                  <a:cubicBezTo>
                    <a:pt x="164" y="137"/>
                    <a:pt x="169" y="123"/>
                    <a:pt x="169" y="107"/>
                  </a:cubicBezTo>
                  <a:cubicBezTo>
                    <a:pt x="169" y="90"/>
                    <a:pt x="163" y="77"/>
                    <a:pt x="151" y="66"/>
                  </a:cubicBezTo>
                  <a:cubicBezTo>
                    <a:pt x="139" y="56"/>
                    <a:pt x="124" y="51"/>
                    <a:pt x="106" y="51"/>
                  </a:cubicBezTo>
                  <a:cubicBezTo>
                    <a:pt x="72" y="51"/>
                    <a:pt x="37" y="61"/>
                    <a:pt x="0" y="82"/>
                  </a:cubicBezTo>
                  <a:lnTo>
                    <a:pt x="14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2" name="Freeform 92"/>
            <p:cNvSpPr>
              <a:spLocks noEditPoints="1"/>
            </p:cNvSpPr>
            <p:nvPr userDrawn="1"/>
          </p:nvSpPr>
          <p:spPr bwMode="black">
            <a:xfrm>
              <a:off x="-1001" y="3770"/>
              <a:ext cx="454" cy="490"/>
            </a:xfrm>
            <a:custGeom>
              <a:avLst/>
              <a:gdLst>
                <a:gd name="T0" fmla="*/ 12 w 192"/>
                <a:gd name="T1" fmla="*/ 156 h 207"/>
                <a:gd name="T2" fmla="*/ 46 w 192"/>
                <a:gd name="T3" fmla="*/ 193 h 207"/>
                <a:gd name="T4" fmla="*/ 96 w 192"/>
                <a:gd name="T5" fmla="*/ 207 h 207"/>
                <a:gd name="T6" fmla="*/ 145 w 192"/>
                <a:gd name="T7" fmla="*/ 195 h 207"/>
                <a:gd name="T8" fmla="*/ 180 w 192"/>
                <a:gd name="T9" fmla="*/ 158 h 207"/>
                <a:gd name="T10" fmla="*/ 192 w 192"/>
                <a:gd name="T11" fmla="*/ 104 h 207"/>
                <a:gd name="T12" fmla="*/ 180 w 192"/>
                <a:gd name="T13" fmla="*/ 50 h 207"/>
                <a:gd name="T14" fmla="*/ 146 w 192"/>
                <a:gd name="T15" fmla="*/ 13 h 207"/>
                <a:gd name="T16" fmla="*/ 96 w 192"/>
                <a:gd name="T17" fmla="*/ 0 h 207"/>
                <a:gd name="T18" fmla="*/ 27 w 192"/>
                <a:gd name="T19" fmla="*/ 28 h 207"/>
                <a:gd name="T20" fmla="*/ 0 w 192"/>
                <a:gd name="T21" fmla="*/ 106 h 207"/>
                <a:gd name="T22" fmla="*/ 12 w 192"/>
                <a:gd name="T23" fmla="*/ 156 h 207"/>
                <a:gd name="T24" fmla="*/ 48 w 192"/>
                <a:gd name="T25" fmla="*/ 42 h 207"/>
                <a:gd name="T26" fmla="*/ 96 w 192"/>
                <a:gd name="T27" fmla="*/ 23 h 207"/>
                <a:gd name="T28" fmla="*/ 132 w 192"/>
                <a:gd name="T29" fmla="*/ 33 h 207"/>
                <a:gd name="T30" fmla="*/ 156 w 192"/>
                <a:gd name="T31" fmla="*/ 61 h 207"/>
                <a:gd name="T32" fmla="*/ 165 w 192"/>
                <a:gd name="T33" fmla="*/ 104 h 207"/>
                <a:gd name="T34" fmla="*/ 145 w 192"/>
                <a:gd name="T35" fmla="*/ 163 h 207"/>
                <a:gd name="T36" fmla="*/ 96 w 192"/>
                <a:gd name="T37" fmla="*/ 184 h 207"/>
                <a:gd name="T38" fmla="*/ 47 w 192"/>
                <a:gd name="T39" fmla="*/ 164 h 207"/>
                <a:gd name="T40" fmla="*/ 28 w 192"/>
                <a:gd name="T41" fmla="*/ 107 h 207"/>
                <a:gd name="T42" fmla="*/ 48 w 192"/>
                <a:gd name="T43" fmla="*/ 42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2" h="207">
                  <a:moveTo>
                    <a:pt x="12" y="156"/>
                  </a:moveTo>
                  <a:cubicBezTo>
                    <a:pt x="19" y="172"/>
                    <a:pt x="31" y="184"/>
                    <a:pt x="46" y="193"/>
                  </a:cubicBezTo>
                  <a:cubicBezTo>
                    <a:pt x="60" y="203"/>
                    <a:pt x="77" y="207"/>
                    <a:pt x="96" y="207"/>
                  </a:cubicBezTo>
                  <a:cubicBezTo>
                    <a:pt x="113" y="207"/>
                    <a:pt x="130" y="203"/>
                    <a:pt x="145" y="195"/>
                  </a:cubicBezTo>
                  <a:cubicBezTo>
                    <a:pt x="160" y="187"/>
                    <a:pt x="171" y="174"/>
                    <a:pt x="180" y="158"/>
                  </a:cubicBezTo>
                  <a:cubicBezTo>
                    <a:pt x="188" y="142"/>
                    <a:pt x="192" y="124"/>
                    <a:pt x="192" y="104"/>
                  </a:cubicBezTo>
                  <a:cubicBezTo>
                    <a:pt x="192" y="84"/>
                    <a:pt x="188" y="66"/>
                    <a:pt x="180" y="50"/>
                  </a:cubicBezTo>
                  <a:cubicBezTo>
                    <a:pt x="172" y="34"/>
                    <a:pt x="161" y="22"/>
                    <a:pt x="146" y="13"/>
                  </a:cubicBezTo>
                  <a:cubicBezTo>
                    <a:pt x="131" y="4"/>
                    <a:pt x="115" y="0"/>
                    <a:pt x="96" y="0"/>
                  </a:cubicBezTo>
                  <a:cubicBezTo>
                    <a:pt x="68" y="0"/>
                    <a:pt x="45" y="9"/>
                    <a:pt x="27" y="28"/>
                  </a:cubicBezTo>
                  <a:cubicBezTo>
                    <a:pt x="9" y="47"/>
                    <a:pt x="0" y="73"/>
                    <a:pt x="0" y="106"/>
                  </a:cubicBezTo>
                  <a:cubicBezTo>
                    <a:pt x="0" y="124"/>
                    <a:pt x="4" y="140"/>
                    <a:pt x="12" y="156"/>
                  </a:cubicBezTo>
                  <a:close/>
                  <a:moveTo>
                    <a:pt x="48" y="42"/>
                  </a:moveTo>
                  <a:cubicBezTo>
                    <a:pt x="61" y="29"/>
                    <a:pt x="78" y="23"/>
                    <a:pt x="96" y="23"/>
                  </a:cubicBezTo>
                  <a:cubicBezTo>
                    <a:pt x="110" y="23"/>
                    <a:pt x="121" y="26"/>
                    <a:pt x="132" y="33"/>
                  </a:cubicBezTo>
                  <a:cubicBezTo>
                    <a:pt x="143" y="39"/>
                    <a:pt x="151" y="49"/>
                    <a:pt x="156" y="61"/>
                  </a:cubicBezTo>
                  <a:cubicBezTo>
                    <a:pt x="162" y="73"/>
                    <a:pt x="165" y="87"/>
                    <a:pt x="165" y="104"/>
                  </a:cubicBezTo>
                  <a:cubicBezTo>
                    <a:pt x="165" y="130"/>
                    <a:pt x="158" y="149"/>
                    <a:pt x="145" y="163"/>
                  </a:cubicBezTo>
                  <a:cubicBezTo>
                    <a:pt x="132" y="177"/>
                    <a:pt x="116" y="184"/>
                    <a:pt x="96" y="184"/>
                  </a:cubicBezTo>
                  <a:cubicBezTo>
                    <a:pt x="76" y="184"/>
                    <a:pt x="60" y="178"/>
                    <a:pt x="47" y="164"/>
                  </a:cubicBezTo>
                  <a:cubicBezTo>
                    <a:pt x="34" y="150"/>
                    <a:pt x="28" y="131"/>
                    <a:pt x="28" y="107"/>
                  </a:cubicBezTo>
                  <a:cubicBezTo>
                    <a:pt x="28" y="76"/>
                    <a:pt x="34" y="55"/>
                    <a:pt x="48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3" name="Freeform 93"/>
            <p:cNvSpPr>
              <a:spLocks noEditPoints="1"/>
            </p:cNvSpPr>
            <p:nvPr userDrawn="1"/>
          </p:nvSpPr>
          <p:spPr bwMode="black">
            <a:xfrm>
              <a:off x="-491" y="3780"/>
              <a:ext cx="360" cy="473"/>
            </a:xfrm>
            <a:custGeom>
              <a:avLst/>
              <a:gdLst>
                <a:gd name="T0" fmla="*/ 77 w 152"/>
                <a:gd name="T1" fmla="*/ 200 h 200"/>
                <a:gd name="T2" fmla="*/ 109 w 152"/>
                <a:gd name="T3" fmla="*/ 196 h 200"/>
                <a:gd name="T4" fmla="*/ 131 w 152"/>
                <a:gd name="T5" fmla="*/ 186 h 200"/>
                <a:gd name="T6" fmla="*/ 146 w 152"/>
                <a:gd name="T7" fmla="*/ 168 h 200"/>
                <a:gd name="T8" fmla="*/ 152 w 152"/>
                <a:gd name="T9" fmla="*/ 142 h 200"/>
                <a:gd name="T10" fmla="*/ 142 w 152"/>
                <a:gd name="T11" fmla="*/ 111 h 200"/>
                <a:gd name="T12" fmla="*/ 114 w 152"/>
                <a:gd name="T13" fmla="*/ 93 h 200"/>
                <a:gd name="T14" fmla="*/ 135 w 152"/>
                <a:gd name="T15" fmla="*/ 75 h 200"/>
                <a:gd name="T16" fmla="*/ 142 w 152"/>
                <a:gd name="T17" fmla="*/ 51 h 200"/>
                <a:gd name="T18" fmla="*/ 134 w 152"/>
                <a:gd name="T19" fmla="*/ 24 h 200"/>
                <a:gd name="T20" fmla="*/ 112 w 152"/>
                <a:gd name="T21" fmla="*/ 6 h 200"/>
                <a:gd name="T22" fmla="*/ 76 w 152"/>
                <a:gd name="T23" fmla="*/ 0 h 200"/>
                <a:gd name="T24" fmla="*/ 0 w 152"/>
                <a:gd name="T25" fmla="*/ 0 h 200"/>
                <a:gd name="T26" fmla="*/ 0 w 152"/>
                <a:gd name="T27" fmla="*/ 200 h 200"/>
                <a:gd name="T28" fmla="*/ 77 w 152"/>
                <a:gd name="T29" fmla="*/ 200 h 200"/>
                <a:gd name="T30" fmla="*/ 27 w 152"/>
                <a:gd name="T31" fmla="*/ 23 h 200"/>
                <a:gd name="T32" fmla="*/ 67 w 152"/>
                <a:gd name="T33" fmla="*/ 23 h 200"/>
                <a:gd name="T34" fmla="*/ 97 w 152"/>
                <a:gd name="T35" fmla="*/ 26 h 200"/>
                <a:gd name="T36" fmla="*/ 111 w 152"/>
                <a:gd name="T37" fmla="*/ 36 h 200"/>
                <a:gd name="T38" fmla="*/ 116 w 152"/>
                <a:gd name="T39" fmla="*/ 54 h 200"/>
                <a:gd name="T40" fmla="*/ 111 w 152"/>
                <a:gd name="T41" fmla="*/ 71 h 200"/>
                <a:gd name="T42" fmla="*/ 96 w 152"/>
                <a:gd name="T43" fmla="*/ 81 h 200"/>
                <a:gd name="T44" fmla="*/ 70 w 152"/>
                <a:gd name="T45" fmla="*/ 84 h 200"/>
                <a:gd name="T46" fmla="*/ 27 w 152"/>
                <a:gd name="T47" fmla="*/ 84 h 200"/>
                <a:gd name="T48" fmla="*/ 27 w 152"/>
                <a:gd name="T49" fmla="*/ 23 h 200"/>
                <a:gd name="T50" fmla="*/ 27 w 152"/>
                <a:gd name="T51" fmla="*/ 107 h 200"/>
                <a:gd name="T52" fmla="*/ 73 w 152"/>
                <a:gd name="T53" fmla="*/ 107 h 200"/>
                <a:gd name="T54" fmla="*/ 103 w 152"/>
                <a:gd name="T55" fmla="*/ 111 h 200"/>
                <a:gd name="T56" fmla="*/ 118 w 152"/>
                <a:gd name="T57" fmla="*/ 122 h 200"/>
                <a:gd name="T58" fmla="*/ 124 w 152"/>
                <a:gd name="T59" fmla="*/ 142 h 200"/>
                <a:gd name="T60" fmla="*/ 120 w 152"/>
                <a:gd name="T61" fmla="*/ 159 h 200"/>
                <a:gd name="T62" fmla="*/ 110 w 152"/>
                <a:gd name="T63" fmla="*/ 170 h 200"/>
                <a:gd name="T64" fmla="*/ 95 w 152"/>
                <a:gd name="T65" fmla="*/ 175 h 200"/>
                <a:gd name="T66" fmla="*/ 77 w 152"/>
                <a:gd name="T67" fmla="*/ 176 h 200"/>
                <a:gd name="T68" fmla="*/ 27 w 152"/>
                <a:gd name="T69" fmla="*/ 176 h 200"/>
                <a:gd name="T70" fmla="*/ 27 w 152"/>
                <a:gd name="T71" fmla="*/ 107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2" h="200">
                  <a:moveTo>
                    <a:pt x="77" y="200"/>
                  </a:moveTo>
                  <a:cubicBezTo>
                    <a:pt x="90" y="200"/>
                    <a:pt x="100" y="199"/>
                    <a:pt x="109" y="196"/>
                  </a:cubicBezTo>
                  <a:cubicBezTo>
                    <a:pt x="118" y="194"/>
                    <a:pt x="125" y="191"/>
                    <a:pt x="131" y="186"/>
                  </a:cubicBezTo>
                  <a:cubicBezTo>
                    <a:pt x="137" y="182"/>
                    <a:pt x="142" y="176"/>
                    <a:pt x="146" y="168"/>
                  </a:cubicBezTo>
                  <a:cubicBezTo>
                    <a:pt x="150" y="160"/>
                    <a:pt x="152" y="151"/>
                    <a:pt x="152" y="142"/>
                  </a:cubicBezTo>
                  <a:cubicBezTo>
                    <a:pt x="152" y="130"/>
                    <a:pt x="148" y="120"/>
                    <a:pt x="142" y="111"/>
                  </a:cubicBezTo>
                  <a:cubicBezTo>
                    <a:pt x="135" y="103"/>
                    <a:pt x="126" y="97"/>
                    <a:pt x="114" y="93"/>
                  </a:cubicBezTo>
                  <a:cubicBezTo>
                    <a:pt x="123" y="89"/>
                    <a:pt x="130" y="82"/>
                    <a:pt x="135" y="75"/>
                  </a:cubicBezTo>
                  <a:cubicBezTo>
                    <a:pt x="140" y="67"/>
                    <a:pt x="142" y="59"/>
                    <a:pt x="142" y="51"/>
                  </a:cubicBezTo>
                  <a:cubicBezTo>
                    <a:pt x="142" y="42"/>
                    <a:pt x="139" y="33"/>
                    <a:pt x="134" y="24"/>
                  </a:cubicBezTo>
                  <a:cubicBezTo>
                    <a:pt x="129" y="16"/>
                    <a:pt x="122" y="10"/>
                    <a:pt x="112" y="6"/>
                  </a:cubicBezTo>
                  <a:cubicBezTo>
                    <a:pt x="103" y="2"/>
                    <a:pt x="91" y="0"/>
                    <a:pt x="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7" y="200"/>
                  </a:lnTo>
                  <a:close/>
                  <a:moveTo>
                    <a:pt x="2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81" y="23"/>
                    <a:pt x="92" y="24"/>
                    <a:pt x="97" y="26"/>
                  </a:cubicBezTo>
                  <a:cubicBezTo>
                    <a:pt x="103" y="28"/>
                    <a:pt x="108" y="31"/>
                    <a:pt x="111" y="36"/>
                  </a:cubicBezTo>
                  <a:cubicBezTo>
                    <a:pt x="114" y="41"/>
                    <a:pt x="116" y="47"/>
                    <a:pt x="116" y="54"/>
                  </a:cubicBezTo>
                  <a:cubicBezTo>
                    <a:pt x="116" y="61"/>
                    <a:pt x="114" y="67"/>
                    <a:pt x="111" y="71"/>
                  </a:cubicBezTo>
                  <a:cubicBezTo>
                    <a:pt x="107" y="76"/>
                    <a:pt x="102" y="79"/>
                    <a:pt x="96" y="81"/>
                  </a:cubicBezTo>
                  <a:cubicBezTo>
                    <a:pt x="90" y="83"/>
                    <a:pt x="82" y="84"/>
                    <a:pt x="70" y="84"/>
                  </a:cubicBezTo>
                  <a:cubicBezTo>
                    <a:pt x="27" y="84"/>
                    <a:pt x="27" y="84"/>
                    <a:pt x="27" y="84"/>
                  </a:cubicBezTo>
                  <a:lnTo>
                    <a:pt x="27" y="23"/>
                  </a:lnTo>
                  <a:close/>
                  <a:moveTo>
                    <a:pt x="27" y="107"/>
                  </a:moveTo>
                  <a:cubicBezTo>
                    <a:pt x="73" y="107"/>
                    <a:pt x="73" y="107"/>
                    <a:pt x="73" y="107"/>
                  </a:cubicBezTo>
                  <a:cubicBezTo>
                    <a:pt x="86" y="107"/>
                    <a:pt x="96" y="108"/>
                    <a:pt x="103" y="111"/>
                  </a:cubicBezTo>
                  <a:cubicBezTo>
                    <a:pt x="109" y="113"/>
                    <a:pt x="115" y="117"/>
                    <a:pt x="118" y="122"/>
                  </a:cubicBezTo>
                  <a:cubicBezTo>
                    <a:pt x="122" y="128"/>
                    <a:pt x="124" y="134"/>
                    <a:pt x="124" y="142"/>
                  </a:cubicBezTo>
                  <a:cubicBezTo>
                    <a:pt x="124" y="148"/>
                    <a:pt x="123" y="154"/>
                    <a:pt x="120" y="159"/>
                  </a:cubicBezTo>
                  <a:cubicBezTo>
                    <a:pt x="118" y="163"/>
                    <a:pt x="114" y="167"/>
                    <a:pt x="110" y="170"/>
                  </a:cubicBezTo>
                  <a:cubicBezTo>
                    <a:pt x="106" y="172"/>
                    <a:pt x="101" y="174"/>
                    <a:pt x="95" y="175"/>
                  </a:cubicBezTo>
                  <a:cubicBezTo>
                    <a:pt x="91" y="176"/>
                    <a:pt x="85" y="176"/>
                    <a:pt x="77" y="176"/>
                  </a:cubicBezTo>
                  <a:cubicBezTo>
                    <a:pt x="27" y="176"/>
                    <a:pt x="27" y="176"/>
                    <a:pt x="27" y="176"/>
                  </a:cubicBezTo>
                  <a:lnTo>
                    <a:pt x="27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4" name="Freeform 94"/>
            <p:cNvSpPr>
              <a:spLocks noEditPoints="1"/>
            </p:cNvSpPr>
            <p:nvPr userDrawn="1"/>
          </p:nvSpPr>
          <p:spPr bwMode="black">
            <a:xfrm>
              <a:off x="-51" y="3780"/>
              <a:ext cx="416" cy="473"/>
            </a:xfrm>
            <a:custGeom>
              <a:avLst/>
              <a:gdLst>
                <a:gd name="T0" fmla="*/ 26 w 176"/>
                <a:gd name="T1" fmla="*/ 200 h 200"/>
                <a:gd name="T2" fmla="*/ 26 w 176"/>
                <a:gd name="T3" fmla="*/ 111 h 200"/>
                <a:gd name="T4" fmla="*/ 57 w 176"/>
                <a:gd name="T5" fmla="*/ 111 h 200"/>
                <a:gd name="T6" fmla="*/ 72 w 176"/>
                <a:gd name="T7" fmla="*/ 112 h 200"/>
                <a:gd name="T8" fmla="*/ 84 w 176"/>
                <a:gd name="T9" fmla="*/ 117 h 200"/>
                <a:gd name="T10" fmla="*/ 97 w 176"/>
                <a:gd name="T11" fmla="*/ 130 h 200"/>
                <a:gd name="T12" fmla="*/ 116 w 176"/>
                <a:gd name="T13" fmla="*/ 158 h 200"/>
                <a:gd name="T14" fmla="*/ 143 w 176"/>
                <a:gd name="T15" fmla="*/ 200 h 200"/>
                <a:gd name="T16" fmla="*/ 176 w 176"/>
                <a:gd name="T17" fmla="*/ 200 h 200"/>
                <a:gd name="T18" fmla="*/ 141 w 176"/>
                <a:gd name="T19" fmla="*/ 145 h 200"/>
                <a:gd name="T20" fmla="*/ 119 w 176"/>
                <a:gd name="T21" fmla="*/ 119 h 200"/>
                <a:gd name="T22" fmla="*/ 103 w 176"/>
                <a:gd name="T23" fmla="*/ 109 h 200"/>
                <a:gd name="T24" fmla="*/ 146 w 176"/>
                <a:gd name="T25" fmla="*/ 90 h 200"/>
                <a:gd name="T26" fmla="*/ 160 w 176"/>
                <a:gd name="T27" fmla="*/ 54 h 200"/>
                <a:gd name="T28" fmla="*/ 151 w 176"/>
                <a:gd name="T29" fmla="*/ 24 h 200"/>
                <a:gd name="T30" fmla="*/ 129 w 176"/>
                <a:gd name="T31" fmla="*/ 5 h 200"/>
                <a:gd name="T32" fmla="*/ 88 w 176"/>
                <a:gd name="T33" fmla="*/ 0 h 200"/>
                <a:gd name="T34" fmla="*/ 0 w 176"/>
                <a:gd name="T35" fmla="*/ 0 h 200"/>
                <a:gd name="T36" fmla="*/ 0 w 176"/>
                <a:gd name="T37" fmla="*/ 200 h 200"/>
                <a:gd name="T38" fmla="*/ 26 w 176"/>
                <a:gd name="T39" fmla="*/ 200 h 200"/>
                <a:gd name="T40" fmla="*/ 26 w 176"/>
                <a:gd name="T41" fmla="*/ 22 h 200"/>
                <a:gd name="T42" fmla="*/ 90 w 176"/>
                <a:gd name="T43" fmla="*/ 22 h 200"/>
                <a:gd name="T44" fmla="*/ 122 w 176"/>
                <a:gd name="T45" fmla="*/ 31 h 200"/>
                <a:gd name="T46" fmla="*/ 132 w 176"/>
                <a:gd name="T47" fmla="*/ 54 h 200"/>
                <a:gd name="T48" fmla="*/ 127 w 176"/>
                <a:gd name="T49" fmla="*/ 72 h 200"/>
                <a:gd name="T50" fmla="*/ 112 w 176"/>
                <a:gd name="T51" fmla="*/ 84 h 200"/>
                <a:gd name="T52" fmla="*/ 83 w 176"/>
                <a:gd name="T53" fmla="*/ 88 h 200"/>
                <a:gd name="T54" fmla="*/ 26 w 176"/>
                <a:gd name="T55" fmla="*/ 88 h 200"/>
                <a:gd name="T56" fmla="*/ 26 w 176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6" h="200">
                  <a:moveTo>
                    <a:pt x="26" y="200"/>
                  </a:moveTo>
                  <a:cubicBezTo>
                    <a:pt x="26" y="111"/>
                    <a:pt x="26" y="111"/>
                    <a:pt x="26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64" y="111"/>
                    <a:pt x="69" y="111"/>
                    <a:pt x="72" y="112"/>
                  </a:cubicBezTo>
                  <a:cubicBezTo>
                    <a:pt x="76" y="113"/>
                    <a:pt x="80" y="115"/>
                    <a:pt x="84" y="117"/>
                  </a:cubicBezTo>
                  <a:cubicBezTo>
                    <a:pt x="88" y="120"/>
                    <a:pt x="92" y="124"/>
                    <a:pt x="97" y="130"/>
                  </a:cubicBezTo>
                  <a:cubicBezTo>
                    <a:pt x="102" y="137"/>
                    <a:pt x="109" y="146"/>
                    <a:pt x="116" y="158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176" y="200"/>
                    <a:pt x="176" y="200"/>
                    <a:pt x="176" y="200"/>
                  </a:cubicBezTo>
                  <a:cubicBezTo>
                    <a:pt x="141" y="145"/>
                    <a:pt x="141" y="145"/>
                    <a:pt x="141" y="145"/>
                  </a:cubicBezTo>
                  <a:cubicBezTo>
                    <a:pt x="134" y="135"/>
                    <a:pt x="127" y="126"/>
                    <a:pt x="119" y="119"/>
                  </a:cubicBezTo>
                  <a:cubicBezTo>
                    <a:pt x="116" y="115"/>
                    <a:pt x="110" y="112"/>
                    <a:pt x="103" y="109"/>
                  </a:cubicBezTo>
                  <a:cubicBezTo>
                    <a:pt x="123" y="106"/>
                    <a:pt x="137" y="100"/>
                    <a:pt x="146" y="90"/>
                  </a:cubicBezTo>
                  <a:cubicBezTo>
                    <a:pt x="155" y="80"/>
                    <a:pt x="160" y="68"/>
                    <a:pt x="160" y="54"/>
                  </a:cubicBezTo>
                  <a:cubicBezTo>
                    <a:pt x="160" y="43"/>
                    <a:pt x="157" y="33"/>
                    <a:pt x="151" y="24"/>
                  </a:cubicBezTo>
                  <a:cubicBezTo>
                    <a:pt x="146" y="15"/>
                    <a:pt x="138" y="8"/>
                    <a:pt x="129" y="5"/>
                  </a:cubicBezTo>
                  <a:cubicBezTo>
                    <a:pt x="120" y="1"/>
                    <a:pt x="106" y="0"/>
                    <a:pt x="8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  <a:moveTo>
                    <a:pt x="26" y="22"/>
                  </a:moveTo>
                  <a:cubicBezTo>
                    <a:pt x="90" y="22"/>
                    <a:pt x="90" y="22"/>
                    <a:pt x="90" y="22"/>
                  </a:cubicBezTo>
                  <a:cubicBezTo>
                    <a:pt x="104" y="22"/>
                    <a:pt x="115" y="25"/>
                    <a:pt x="122" y="31"/>
                  </a:cubicBezTo>
                  <a:cubicBezTo>
                    <a:pt x="129" y="37"/>
                    <a:pt x="132" y="45"/>
                    <a:pt x="132" y="54"/>
                  </a:cubicBezTo>
                  <a:cubicBezTo>
                    <a:pt x="132" y="61"/>
                    <a:pt x="131" y="67"/>
                    <a:pt x="127" y="72"/>
                  </a:cubicBezTo>
                  <a:cubicBezTo>
                    <a:pt x="124" y="78"/>
                    <a:pt x="118" y="82"/>
                    <a:pt x="112" y="84"/>
                  </a:cubicBezTo>
                  <a:cubicBezTo>
                    <a:pt x="105" y="87"/>
                    <a:pt x="95" y="88"/>
                    <a:pt x="83" y="88"/>
                  </a:cubicBezTo>
                  <a:cubicBezTo>
                    <a:pt x="26" y="88"/>
                    <a:pt x="26" y="88"/>
                    <a:pt x="26" y="88"/>
                  </a:cubicBezTo>
                  <a:lnTo>
                    <a:pt x="2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5" name="Rectangle 95"/>
            <p:cNvSpPr>
              <a:spLocks noChangeArrowheads="1"/>
            </p:cNvSpPr>
            <p:nvPr userDrawn="1"/>
          </p:nvSpPr>
          <p:spPr bwMode="black">
            <a:xfrm>
              <a:off x="429" y="3780"/>
              <a:ext cx="61" cy="4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6" name="Freeform 96"/>
            <p:cNvSpPr>
              <a:spLocks/>
            </p:cNvSpPr>
            <p:nvPr userDrawn="1"/>
          </p:nvSpPr>
          <p:spPr bwMode="black">
            <a:xfrm>
              <a:off x="580" y="3770"/>
              <a:ext cx="438" cy="490"/>
            </a:xfrm>
            <a:custGeom>
              <a:avLst/>
              <a:gdLst>
                <a:gd name="T0" fmla="*/ 159 w 185"/>
                <a:gd name="T1" fmla="*/ 125 h 207"/>
                <a:gd name="T2" fmla="*/ 159 w 185"/>
                <a:gd name="T3" fmla="*/ 162 h 207"/>
                <a:gd name="T4" fmla="*/ 134 w 185"/>
                <a:gd name="T5" fmla="*/ 177 h 207"/>
                <a:gd name="T6" fmla="*/ 100 w 185"/>
                <a:gd name="T7" fmla="*/ 183 h 207"/>
                <a:gd name="T8" fmla="*/ 63 w 185"/>
                <a:gd name="T9" fmla="*/ 174 h 207"/>
                <a:gd name="T10" fmla="*/ 36 w 185"/>
                <a:gd name="T11" fmla="*/ 148 h 207"/>
                <a:gd name="T12" fmla="*/ 27 w 185"/>
                <a:gd name="T13" fmla="*/ 103 h 207"/>
                <a:gd name="T14" fmla="*/ 35 w 185"/>
                <a:gd name="T15" fmla="*/ 63 h 207"/>
                <a:gd name="T16" fmla="*/ 47 w 185"/>
                <a:gd name="T17" fmla="*/ 43 h 207"/>
                <a:gd name="T18" fmla="*/ 69 w 185"/>
                <a:gd name="T19" fmla="*/ 28 h 207"/>
                <a:gd name="T20" fmla="*/ 100 w 185"/>
                <a:gd name="T21" fmla="*/ 23 h 207"/>
                <a:gd name="T22" fmla="*/ 128 w 185"/>
                <a:gd name="T23" fmla="*/ 28 h 207"/>
                <a:gd name="T24" fmla="*/ 147 w 185"/>
                <a:gd name="T25" fmla="*/ 42 h 207"/>
                <a:gd name="T26" fmla="*/ 158 w 185"/>
                <a:gd name="T27" fmla="*/ 66 h 207"/>
                <a:gd name="T28" fmla="*/ 182 w 185"/>
                <a:gd name="T29" fmla="*/ 59 h 207"/>
                <a:gd name="T30" fmla="*/ 167 w 185"/>
                <a:gd name="T31" fmla="*/ 27 h 207"/>
                <a:gd name="T32" fmla="*/ 139 w 185"/>
                <a:gd name="T33" fmla="*/ 7 h 207"/>
                <a:gd name="T34" fmla="*/ 100 w 185"/>
                <a:gd name="T35" fmla="*/ 0 h 207"/>
                <a:gd name="T36" fmla="*/ 47 w 185"/>
                <a:gd name="T37" fmla="*/ 12 h 207"/>
                <a:gd name="T38" fmla="*/ 12 w 185"/>
                <a:gd name="T39" fmla="*/ 50 h 207"/>
                <a:gd name="T40" fmla="*/ 0 w 185"/>
                <a:gd name="T41" fmla="*/ 105 h 207"/>
                <a:gd name="T42" fmla="*/ 12 w 185"/>
                <a:gd name="T43" fmla="*/ 158 h 207"/>
                <a:gd name="T44" fmla="*/ 48 w 185"/>
                <a:gd name="T45" fmla="*/ 194 h 207"/>
                <a:gd name="T46" fmla="*/ 102 w 185"/>
                <a:gd name="T47" fmla="*/ 207 h 207"/>
                <a:gd name="T48" fmla="*/ 145 w 185"/>
                <a:gd name="T49" fmla="*/ 199 h 207"/>
                <a:gd name="T50" fmla="*/ 185 w 185"/>
                <a:gd name="T51" fmla="*/ 176 h 207"/>
                <a:gd name="T52" fmla="*/ 185 w 185"/>
                <a:gd name="T53" fmla="*/ 102 h 207"/>
                <a:gd name="T54" fmla="*/ 100 w 185"/>
                <a:gd name="T55" fmla="*/ 102 h 207"/>
                <a:gd name="T56" fmla="*/ 100 w 185"/>
                <a:gd name="T57" fmla="*/ 125 h 207"/>
                <a:gd name="T58" fmla="*/ 159 w 185"/>
                <a:gd name="T59" fmla="*/ 12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5" h="207">
                  <a:moveTo>
                    <a:pt x="159" y="125"/>
                  </a:moveTo>
                  <a:cubicBezTo>
                    <a:pt x="159" y="162"/>
                    <a:pt x="159" y="162"/>
                    <a:pt x="159" y="162"/>
                  </a:cubicBezTo>
                  <a:cubicBezTo>
                    <a:pt x="153" y="167"/>
                    <a:pt x="145" y="172"/>
                    <a:pt x="134" y="177"/>
                  </a:cubicBezTo>
                  <a:cubicBezTo>
                    <a:pt x="123" y="181"/>
                    <a:pt x="112" y="183"/>
                    <a:pt x="100" y="183"/>
                  </a:cubicBezTo>
                  <a:cubicBezTo>
                    <a:pt x="87" y="183"/>
                    <a:pt x="75" y="180"/>
                    <a:pt x="63" y="174"/>
                  </a:cubicBezTo>
                  <a:cubicBezTo>
                    <a:pt x="51" y="169"/>
                    <a:pt x="42" y="160"/>
                    <a:pt x="36" y="148"/>
                  </a:cubicBezTo>
                  <a:cubicBezTo>
                    <a:pt x="30" y="136"/>
                    <a:pt x="27" y="121"/>
                    <a:pt x="27" y="103"/>
                  </a:cubicBezTo>
                  <a:cubicBezTo>
                    <a:pt x="27" y="88"/>
                    <a:pt x="30" y="75"/>
                    <a:pt x="35" y="63"/>
                  </a:cubicBezTo>
                  <a:cubicBezTo>
                    <a:pt x="38" y="55"/>
                    <a:pt x="42" y="49"/>
                    <a:pt x="47" y="43"/>
                  </a:cubicBezTo>
                  <a:cubicBezTo>
                    <a:pt x="53" y="37"/>
                    <a:pt x="60" y="32"/>
                    <a:pt x="69" y="28"/>
                  </a:cubicBezTo>
                  <a:cubicBezTo>
                    <a:pt x="77" y="25"/>
                    <a:pt x="88" y="23"/>
                    <a:pt x="100" y="23"/>
                  </a:cubicBezTo>
                  <a:cubicBezTo>
                    <a:pt x="110" y="23"/>
                    <a:pt x="119" y="25"/>
                    <a:pt x="128" y="28"/>
                  </a:cubicBezTo>
                  <a:cubicBezTo>
                    <a:pt x="136" y="32"/>
                    <a:pt x="142" y="36"/>
                    <a:pt x="147" y="42"/>
                  </a:cubicBezTo>
                  <a:cubicBezTo>
                    <a:pt x="151" y="48"/>
                    <a:pt x="155" y="56"/>
                    <a:pt x="158" y="66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78" y="46"/>
                    <a:pt x="173" y="35"/>
                    <a:pt x="167" y="27"/>
                  </a:cubicBezTo>
                  <a:cubicBezTo>
                    <a:pt x="160" y="18"/>
                    <a:pt x="151" y="12"/>
                    <a:pt x="139" y="7"/>
                  </a:cubicBezTo>
                  <a:cubicBezTo>
                    <a:pt x="127" y="2"/>
                    <a:pt x="114" y="0"/>
                    <a:pt x="100" y="0"/>
                  </a:cubicBezTo>
                  <a:cubicBezTo>
                    <a:pt x="80" y="0"/>
                    <a:pt x="62" y="4"/>
                    <a:pt x="47" y="12"/>
                  </a:cubicBezTo>
                  <a:cubicBezTo>
                    <a:pt x="32" y="21"/>
                    <a:pt x="20" y="33"/>
                    <a:pt x="12" y="50"/>
                  </a:cubicBezTo>
                  <a:cubicBezTo>
                    <a:pt x="4" y="67"/>
                    <a:pt x="0" y="85"/>
                    <a:pt x="0" y="105"/>
                  </a:cubicBezTo>
                  <a:cubicBezTo>
                    <a:pt x="0" y="124"/>
                    <a:pt x="4" y="142"/>
                    <a:pt x="12" y="158"/>
                  </a:cubicBezTo>
                  <a:cubicBezTo>
                    <a:pt x="20" y="174"/>
                    <a:pt x="32" y="186"/>
                    <a:pt x="48" y="194"/>
                  </a:cubicBezTo>
                  <a:cubicBezTo>
                    <a:pt x="64" y="203"/>
                    <a:pt x="82" y="207"/>
                    <a:pt x="102" y="207"/>
                  </a:cubicBezTo>
                  <a:cubicBezTo>
                    <a:pt x="117" y="207"/>
                    <a:pt x="131" y="204"/>
                    <a:pt x="145" y="199"/>
                  </a:cubicBezTo>
                  <a:cubicBezTo>
                    <a:pt x="158" y="194"/>
                    <a:pt x="172" y="186"/>
                    <a:pt x="185" y="176"/>
                  </a:cubicBezTo>
                  <a:cubicBezTo>
                    <a:pt x="185" y="102"/>
                    <a:pt x="185" y="102"/>
                    <a:pt x="185" y="10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100" y="125"/>
                    <a:pt x="100" y="125"/>
                    <a:pt x="100" y="125"/>
                  </a:cubicBezTo>
                  <a:lnTo>
                    <a:pt x="159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7" name="Freeform 97"/>
            <p:cNvSpPr>
              <a:spLocks noEditPoints="1"/>
            </p:cNvSpPr>
            <p:nvPr userDrawn="1"/>
          </p:nvSpPr>
          <p:spPr bwMode="black">
            <a:xfrm>
              <a:off x="1051" y="3780"/>
              <a:ext cx="442" cy="473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39 h 200"/>
                <a:gd name="T4" fmla="*/ 134 w 187"/>
                <a:gd name="T5" fmla="*/ 139 h 200"/>
                <a:gd name="T6" fmla="*/ 157 w 187"/>
                <a:gd name="T7" fmla="*/ 200 h 200"/>
                <a:gd name="T8" fmla="*/ 187 w 187"/>
                <a:gd name="T9" fmla="*/ 200 h 200"/>
                <a:gd name="T10" fmla="*/ 106 w 187"/>
                <a:gd name="T11" fmla="*/ 0 h 200"/>
                <a:gd name="T12" fmla="*/ 77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80 w 187"/>
                <a:gd name="T19" fmla="*/ 59 h 200"/>
                <a:gd name="T20" fmla="*/ 91 w 187"/>
                <a:gd name="T21" fmla="*/ 21 h 200"/>
                <a:gd name="T22" fmla="*/ 105 w 187"/>
                <a:gd name="T23" fmla="*/ 62 h 200"/>
                <a:gd name="T24" fmla="*/ 126 w 187"/>
                <a:gd name="T25" fmla="*/ 117 h 200"/>
                <a:gd name="T26" fmla="*/ 58 w 187"/>
                <a:gd name="T27" fmla="*/ 117 h 200"/>
                <a:gd name="T28" fmla="*/ 80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39"/>
                    <a:pt x="50" y="139"/>
                    <a:pt x="50" y="139"/>
                  </a:cubicBezTo>
                  <a:cubicBezTo>
                    <a:pt x="134" y="139"/>
                    <a:pt x="134" y="139"/>
                    <a:pt x="134" y="139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80" y="59"/>
                  </a:moveTo>
                  <a:cubicBezTo>
                    <a:pt x="85" y="46"/>
                    <a:pt x="88" y="33"/>
                    <a:pt x="91" y="21"/>
                  </a:cubicBezTo>
                  <a:cubicBezTo>
                    <a:pt x="94" y="31"/>
                    <a:pt x="99" y="45"/>
                    <a:pt x="105" y="62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58" y="117"/>
                    <a:pt x="58" y="117"/>
                    <a:pt x="58" y="117"/>
                  </a:cubicBezTo>
                  <a:lnTo>
                    <a:pt x="8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8" name="Freeform 98"/>
            <p:cNvSpPr>
              <a:spLocks noEditPoints="1"/>
            </p:cNvSpPr>
            <p:nvPr userDrawn="1"/>
          </p:nvSpPr>
          <p:spPr bwMode="black">
            <a:xfrm>
              <a:off x="1538" y="3780"/>
              <a:ext cx="390" cy="473"/>
            </a:xfrm>
            <a:custGeom>
              <a:avLst/>
              <a:gdLst>
                <a:gd name="T0" fmla="*/ 72 w 165"/>
                <a:gd name="T1" fmla="*/ 200 h 200"/>
                <a:gd name="T2" fmla="*/ 104 w 165"/>
                <a:gd name="T3" fmla="*/ 196 h 200"/>
                <a:gd name="T4" fmla="*/ 128 w 165"/>
                <a:gd name="T5" fmla="*/ 186 h 200"/>
                <a:gd name="T6" fmla="*/ 146 w 165"/>
                <a:gd name="T7" fmla="*/ 168 h 200"/>
                <a:gd name="T8" fmla="*/ 160 w 165"/>
                <a:gd name="T9" fmla="*/ 139 h 200"/>
                <a:gd name="T10" fmla="*/ 165 w 165"/>
                <a:gd name="T11" fmla="*/ 99 h 200"/>
                <a:gd name="T12" fmla="*/ 158 w 165"/>
                <a:gd name="T13" fmla="*/ 51 h 200"/>
                <a:gd name="T14" fmla="*/ 134 w 165"/>
                <a:gd name="T15" fmla="*/ 17 h 200"/>
                <a:gd name="T16" fmla="*/ 104 w 165"/>
                <a:gd name="T17" fmla="*/ 2 h 200"/>
                <a:gd name="T18" fmla="*/ 69 w 165"/>
                <a:gd name="T19" fmla="*/ 0 h 200"/>
                <a:gd name="T20" fmla="*/ 0 w 165"/>
                <a:gd name="T21" fmla="*/ 0 h 200"/>
                <a:gd name="T22" fmla="*/ 0 w 165"/>
                <a:gd name="T23" fmla="*/ 200 h 200"/>
                <a:gd name="T24" fmla="*/ 72 w 165"/>
                <a:gd name="T25" fmla="*/ 200 h 200"/>
                <a:gd name="T26" fmla="*/ 26 w 165"/>
                <a:gd name="T27" fmla="*/ 23 h 200"/>
                <a:gd name="T28" fmla="*/ 68 w 165"/>
                <a:gd name="T29" fmla="*/ 23 h 200"/>
                <a:gd name="T30" fmla="*/ 103 w 165"/>
                <a:gd name="T31" fmla="*/ 27 h 200"/>
                <a:gd name="T32" fmla="*/ 128 w 165"/>
                <a:gd name="T33" fmla="*/ 50 h 200"/>
                <a:gd name="T34" fmla="*/ 138 w 165"/>
                <a:gd name="T35" fmla="*/ 98 h 200"/>
                <a:gd name="T36" fmla="*/ 133 w 165"/>
                <a:gd name="T37" fmla="*/ 137 h 200"/>
                <a:gd name="T38" fmla="*/ 118 w 165"/>
                <a:gd name="T39" fmla="*/ 162 h 200"/>
                <a:gd name="T40" fmla="*/ 100 w 165"/>
                <a:gd name="T41" fmla="*/ 172 h 200"/>
                <a:gd name="T42" fmla="*/ 69 w 165"/>
                <a:gd name="T43" fmla="*/ 176 h 200"/>
                <a:gd name="T44" fmla="*/ 26 w 165"/>
                <a:gd name="T45" fmla="*/ 176 h 200"/>
                <a:gd name="T46" fmla="*/ 26 w 165"/>
                <a:gd name="T47" fmla="*/ 2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5" h="200">
                  <a:moveTo>
                    <a:pt x="72" y="200"/>
                  </a:moveTo>
                  <a:cubicBezTo>
                    <a:pt x="84" y="200"/>
                    <a:pt x="95" y="199"/>
                    <a:pt x="104" y="196"/>
                  </a:cubicBezTo>
                  <a:cubicBezTo>
                    <a:pt x="114" y="194"/>
                    <a:pt x="122" y="191"/>
                    <a:pt x="128" y="186"/>
                  </a:cubicBezTo>
                  <a:cubicBezTo>
                    <a:pt x="135" y="182"/>
                    <a:pt x="141" y="176"/>
                    <a:pt x="146" y="168"/>
                  </a:cubicBezTo>
                  <a:cubicBezTo>
                    <a:pt x="152" y="160"/>
                    <a:pt x="156" y="151"/>
                    <a:pt x="160" y="139"/>
                  </a:cubicBezTo>
                  <a:cubicBezTo>
                    <a:pt x="164" y="127"/>
                    <a:pt x="165" y="114"/>
                    <a:pt x="165" y="99"/>
                  </a:cubicBezTo>
                  <a:cubicBezTo>
                    <a:pt x="165" y="81"/>
                    <a:pt x="163" y="65"/>
                    <a:pt x="158" y="51"/>
                  </a:cubicBezTo>
                  <a:cubicBezTo>
                    <a:pt x="152" y="37"/>
                    <a:pt x="144" y="26"/>
                    <a:pt x="134" y="17"/>
                  </a:cubicBezTo>
                  <a:cubicBezTo>
                    <a:pt x="126" y="10"/>
                    <a:pt x="116" y="5"/>
                    <a:pt x="104" y="2"/>
                  </a:cubicBezTo>
                  <a:cubicBezTo>
                    <a:pt x="96" y="0"/>
                    <a:pt x="84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2" y="200"/>
                  </a:lnTo>
                  <a:close/>
                  <a:moveTo>
                    <a:pt x="26" y="23"/>
                  </a:moveTo>
                  <a:cubicBezTo>
                    <a:pt x="68" y="23"/>
                    <a:pt x="68" y="23"/>
                    <a:pt x="68" y="23"/>
                  </a:cubicBezTo>
                  <a:cubicBezTo>
                    <a:pt x="84" y="23"/>
                    <a:pt x="96" y="24"/>
                    <a:pt x="103" y="27"/>
                  </a:cubicBezTo>
                  <a:cubicBezTo>
                    <a:pt x="113" y="31"/>
                    <a:pt x="121" y="39"/>
                    <a:pt x="128" y="50"/>
                  </a:cubicBezTo>
                  <a:cubicBezTo>
                    <a:pt x="135" y="61"/>
                    <a:pt x="138" y="77"/>
                    <a:pt x="138" y="98"/>
                  </a:cubicBezTo>
                  <a:cubicBezTo>
                    <a:pt x="138" y="113"/>
                    <a:pt x="136" y="126"/>
                    <a:pt x="133" y="137"/>
                  </a:cubicBezTo>
                  <a:cubicBezTo>
                    <a:pt x="129" y="147"/>
                    <a:pt x="124" y="156"/>
                    <a:pt x="118" y="162"/>
                  </a:cubicBezTo>
                  <a:cubicBezTo>
                    <a:pt x="114" y="166"/>
                    <a:pt x="108" y="170"/>
                    <a:pt x="100" y="172"/>
                  </a:cubicBezTo>
                  <a:cubicBezTo>
                    <a:pt x="93" y="175"/>
                    <a:pt x="82" y="176"/>
                    <a:pt x="69" y="176"/>
                  </a:cubicBezTo>
                  <a:cubicBezTo>
                    <a:pt x="26" y="176"/>
                    <a:pt x="26" y="176"/>
                    <a:pt x="26" y="176"/>
                  </a:cubicBez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9" name="Freeform 99"/>
            <p:cNvSpPr>
              <a:spLocks noEditPoints="1"/>
            </p:cNvSpPr>
            <p:nvPr userDrawn="1"/>
          </p:nvSpPr>
          <p:spPr bwMode="black">
            <a:xfrm>
              <a:off x="1989" y="3770"/>
              <a:ext cx="452" cy="490"/>
            </a:xfrm>
            <a:custGeom>
              <a:avLst/>
              <a:gdLst>
                <a:gd name="T0" fmla="*/ 11 w 191"/>
                <a:gd name="T1" fmla="*/ 156 h 207"/>
                <a:gd name="T2" fmla="*/ 45 w 191"/>
                <a:gd name="T3" fmla="*/ 193 h 207"/>
                <a:gd name="T4" fmla="*/ 96 w 191"/>
                <a:gd name="T5" fmla="*/ 207 h 207"/>
                <a:gd name="T6" fmla="*/ 144 w 191"/>
                <a:gd name="T7" fmla="*/ 195 h 207"/>
                <a:gd name="T8" fmla="*/ 179 w 191"/>
                <a:gd name="T9" fmla="*/ 158 h 207"/>
                <a:gd name="T10" fmla="*/ 191 w 191"/>
                <a:gd name="T11" fmla="*/ 104 h 207"/>
                <a:gd name="T12" fmla="*/ 180 w 191"/>
                <a:gd name="T13" fmla="*/ 50 h 207"/>
                <a:gd name="T14" fmla="*/ 146 w 191"/>
                <a:gd name="T15" fmla="*/ 13 h 207"/>
                <a:gd name="T16" fmla="*/ 96 w 191"/>
                <a:gd name="T17" fmla="*/ 0 h 207"/>
                <a:gd name="T18" fmla="*/ 27 w 191"/>
                <a:gd name="T19" fmla="*/ 28 h 207"/>
                <a:gd name="T20" fmla="*/ 0 w 191"/>
                <a:gd name="T21" fmla="*/ 106 h 207"/>
                <a:gd name="T22" fmla="*/ 11 w 191"/>
                <a:gd name="T23" fmla="*/ 156 h 207"/>
                <a:gd name="T24" fmla="*/ 48 w 191"/>
                <a:gd name="T25" fmla="*/ 42 h 207"/>
                <a:gd name="T26" fmla="*/ 96 w 191"/>
                <a:gd name="T27" fmla="*/ 23 h 207"/>
                <a:gd name="T28" fmla="*/ 132 w 191"/>
                <a:gd name="T29" fmla="*/ 33 h 207"/>
                <a:gd name="T30" fmla="*/ 156 w 191"/>
                <a:gd name="T31" fmla="*/ 61 h 207"/>
                <a:gd name="T32" fmla="*/ 164 w 191"/>
                <a:gd name="T33" fmla="*/ 104 h 207"/>
                <a:gd name="T34" fmla="*/ 145 w 191"/>
                <a:gd name="T35" fmla="*/ 163 h 207"/>
                <a:gd name="T36" fmla="*/ 96 w 191"/>
                <a:gd name="T37" fmla="*/ 184 h 207"/>
                <a:gd name="T38" fmla="*/ 47 w 191"/>
                <a:gd name="T39" fmla="*/ 164 h 207"/>
                <a:gd name="T40" fmla="*/ 27 w 191"/>
                <a:gd name="T41" fmla="*/ 107 h 207"/>
                <a:gd name="T42" fmla="*/ 48 w 191"/>
                <a:gd name="T43" fmla="*/ 42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1" h="207">
                  <a:moveTo>
                    <a:pt x="11" y="156"/>
                  </a:moveTo>
                  <a:cubicBezTo>
                    <a:pt x="19" y="172"/>
                    <a:pt x="30" y="184"/>
                    <a:pt x="45" y="193"/>
                  </a:cubicBezTo>
                  <a:cubicBezTo>
                    <a:pt x="60" y="203"/>
                    <a:pt x="77" y="207"/>
                    <a:pt x="96" y="207"/>
                  </a:cubicBezTo>
                  <a:cubicBezTo>
                    <a:pt x="113" y="207"/>
                    <a:pt x="129" y="203"/>
                    <a:pt x="144" y="195"/>
                  </a:cubicBezTo>
                  <a:cubicBezTo>
                    <a:pt x="159" y="187"/>
                    <a:pt x="171" y="174"/>
                    <a:pt x="179" y="158"/>
                  </a:cubicBezTo>
                  <a:cubicBezTo>
                    <a:pt x="187" y="142"/>
                    <a:pt x="191" y="124"/>
                    <a:pt x="191" y="104"/>
                  </a:cubicBezTo>
                  <a:cubicBezTo>
                    <a:pt x="191" y="84"/>
                    <a:pt x="188" y="66"/>
                    <a:pt x="180" y="50"/>
                  </a:cubicBezTo>
                  <a:cubicBezTo>
                    <a:pt x="172" y="34"/>
                    <a:pt x="161" y="22"/>
                    <a:pt x="146" y="13"/>
                  </a:cubicBezTo>
                  <a:cubicBezTo>
                    <a:pt x="131" y="4"/>
                    <a:pt x="114" y="0"/>
                    <a:pt x="96" y="0"/>
                  </a:cubicBezTo>
                  <a:cubicBezTo>
                    <a:pt x="68" y="0"/>
                    <a:pt x="45" y="9"/>
                    <a:pt x="27" y="28"/>
                  </a:cubicBezTo>
                  <a:cubicBezTo>
                    <a:pt x="9" y="47"/>
                    <a:pt x="0" y="73"/>
                    <a:pt x="0" y="106"/>
                  </a:cubicBezTo>
                  <a:cubicBezTo>
                    <a:pt x="0" y="124"/>
                    <a:pt x="4" y="140"/>
                    <a:pt x="11" y="156"/>
                  </a:cubicBezTo>
                  <a:close/>
                  <a:moveTo>
                    <a:pt x="48" y="42"/>
                  </a:moveTo>
                  <a:cubicBezTo>
                    <a:pt x="61" y="29"/>
                    <a:pt x="77" y="23"/>
                    <a:pt x="96" y="23"/>
                  </a:cubicBezTo>
                  <a:cubicBezTo>
                    <a:pt x="109" y="23"/>
                    <a:pt x="121" y="26"/>
                    <a:pt x="132" y="33"/>
                  </a:cubicBezTo>
                  <a:cubicBezTo>
                    <a:pt x="142" y="39"/>
                    <a:pt x="150" y="49"/>
                    <a:pt x="156" y="61"/>
                  </a:cubicBezTo>
                  <a:cubicBezTo>
                    <a:pt x="161" y="73"/>
                    <a:pt x="164" y="87"/>
                    <a:pt x="164" y="104"/>
                  </a:cubicBezTo>
                  <a:cubicBezTo>
                    <a:pt x="164" y="130"/>
                    <a:pt x="158" y="149"/>
                    <a:pt x="145" y="163"/>
                  </a:cubicBezTo>
                  <a:cubicBezTo>
                    <a:pt x="132" y="177"/>
                    <a:pt x="116" y="184"/>
                    <a:pt x="96" y="184"/>
                  </a:cubicBezTo>
                  <a:cubicBezTo>
                    <a:pt x="76" y="184"/>
                    <a:pt x="60" y="178"/>
                    <a:pt x="47" y="164"/>
                  </a:cubicBezTo>
                  <a:cubicBezTo>
                    <a:pt x="34" y="150"/>
                    <a:pt x="27" y="131"/>
                    <a:pt x="27" y="107"/>
                  </a:cubicBezTo>
                  <a:cubicBezTo>
                    <a:pt x="27" y="76"/>
                    <a:pt x="34" y="55"/>
                    <a:pt x="48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0" name="Freeform 100"/>
            <p:cNvSpPr>
              <a:spLocks/>
            </p:cNvSpPr>
            <p:nvPr userDrawn="1"/>
          </p:nvSpPr>
          <p:spPr bwMode="black">
            <a:xfrm>
              <a:off x="-994" y="2895"/>
              <a:ext cx="437" cy="490"/>
            </a:xfrm>
            <a:custGeom>
              <a:avLst/>
              <a:gdLst>
                <a:gd name="T0" fmla="*/ 159 w 185"/>
                <a:gd name="T1" fmla="*/ 125 h 207"/>
                <a:gd name="T2" fmla="*/ 159 w 185"/>
                <a:gd name="T3" fmla="*/ 163 h 207"/>
                <a:gd name="T4" fmla="*/ 134 w 185"/>
                <a:gd name="T5" fmla="*/ 177 h 207"/>
                <a:gd name="T6" fmla="*/ 101 w 185"/>
                <a:gd name="T7" fmla="*/ 183 h 207"/>
                <a:gd name="T8" fmla="*/ 63 w 185"/>
                <a:gd name="T9" fmla="*/ 175 h 207"/>
                <a:gd name="T10" fmla="*/ 36 w 185"/>
                <a:gd name="T11" fmla="*/ 148 h 207"/>
                <a:gd name="T12" fmla="*/ 27 w 185"/>
                <a:gd name="T13" fmla="*/ 103 h 207"/>
                <a:gd name="T14" fmla="*/ 35 w 185"/>
                <a:gd name="T15" fmla="*/ 63 h 207"/>
                <a:gd name="T16" fmla="*/ 48 w 185"/>
                <a:gd name="T17" fmla="*/ 43 h 207"/>
                <a:gd name="T18" fmla="*/ 69 w 185"/>
                <a:gd name="T19" fmla="*/ 28 h 207"/>
                <a:gd name="T20" fmla="*/ 100 w 185"/>
                <a:gd name="T21" fmla="*/ 23 h 207"/>
                <a:gd name="T22" fmla="*/ 128 w 185"/>
                <a:gd name="T23" fmla="*/ 28 h 207"/>
                <a:gd name="T24" fmla="*/ 147 w 185"/>
                <a:gd name="T25" fmla="*/ 42 h 207"/>
                <a:gd name="T26" fmla="*/ 158 w 185"/>
                <a:gd name="T27" fmla="*/ 66 h 207"/>
                <a:gd name="T28" fmla="*/ 182 w 185"/>
                <a:gd name="T29" fmla="*/ 60 h 207"/>
                <a:gd name="T30" fmla="*/ 167 w 185"/>
                <a:gd name="T31" fmla="*/ 27 h 207"/>
                <a:gd name="T32" fmla="*/ 139 w 185"/>
                <a:gd name="T33" fmla="*/ 7 h 207"/>
                <a:gd name="T34" fmla="*/ 100 w 185"/>
                <a:gd name="T35" fmla="*/ 0 h 207"/>
                <a:gd name="T36" fmla="*/ 47 w 185"/>
                <a:gd name="T37" fmla="*/ 13 h 207"/>
                <a:gd name="T38" fmla="*/ 12 w 185"/>
                <a:gd name="T39" fmla="*/ 50 h 207"/>
                <a:gd name="T40" fmla="*/ 0 w 185"/>
                <a:gd name="T41" fmla="*/ 105 h 207"/>
                <a:gd name="T42" fmla="*/ 12 w 185"/>
                <a:gd name="T43" fmla="*/ 158 h 207"/>
                <a:gd name="T44" fmla="*/ 49 w 185"/>
                <a:gd name="T45" fmla="*/ 195 h 207"/>
                <a:gd name="T46" fmla="*/ 102 w 185"/>
                <a:gd name="T47" fmla="*/ 207 h 207"/>
                <a:gd name="T48" fmla="*/ 145 w 185"/>
                <a:gd name="T49" fmla="*/ 199 h 207"/>
                <a:gd name="T50" fmla="*/ 185 w 185"/>
                <a:gd name="T51" fmla="*/ 176 h 207"/>
                <a:gd name="T52" fmla="*/ 185 w 185"/>
                <a:gd name="T53" fmla="*/ 102 h 207"/>
                <a:gd name="T54" fmla="*/ 100 w 185"/>
                <a:gd name="T55" fmla="*/ 102 h 207"/>
                <a:gd name="T56" fmla="*/ 100 w 185"/>
                <a:gd name="T57" fmla="*/ 125 h 207"/>
                <a:gd name="T58" fmla="*/ 159 w 185"/>
                <a:gd name="T59" fmla="*/ 12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5" h="207">
                  <a:moveTo>
                    <a:pt x="159" y="125"/>
                  </a:moveTo>
                  <a:cubicBezTo>
                    <a:pt x="159" y="163"/>
                    <a:pt x="159" y="163"/>
                    <a:pt x="159" y="163"/>
                  </a:cubicBezTo>
                  <a:cubicBezTo>
                    <a:pt x="153" y="168"/>
                    <a:pt x="145" y="172"/>
                    <a:pt x="134" y="177"/>
                  </a:cubicBezTo>
                  <a:cubicBezTo>
                    <a:pt x="123" y="181"/>
                    <a:pt x="112" y="183"/>
                    <a:pt x="101" y="183"/>
                  </a:cubicBezTo>
                  <a:cubicBezTo>
                    <a:pt x="87" y="183"/>
                    <a:pt x="75" y="180"/>
                    <a:pt x="63" y="175"/>
                  </a:cubicBezTo>
                  <a:cubicBezTo>
                    <a:pt x="52" y="169"/>
                    <a:pt x="43" y="160"/>
                    <a:pt x="36" y="148"/>
                  </a:cubicBezTo>
                  <a:cubicBezTo>
                    <a:pt x="30" y="136"/>
                    <a:pt x="27" y="121"/>
                    <a:pt x="27" y="103"/>
                  </a:cubicBezTo>
                  <a:cubicBezTo>
                    <a:pt x="27" y="89"/>
                    <a:pt x="30" y="75"/>
                    <a:pt x="35" y="63"/>
                  </a:cubicBezTo>
                  <a:cubicBezTo>
                    <a:pt x="38" y="56"/>
                    <a:pt x="42" y="49"/>
                    <a:pt x="48" y="43"/>
                  </a:cubicBezTo>
                  <a:cubicBezTo>
                    <a:pt x="53" y="37"/>
                    <a:pt x="60" y="32"/>
                    <a:pt x="69" y="28"/>
                  </a:cubicBezTo>
                  <a:cubicBezTo>
                    <a:pt x="78" y="25"/>
                    <a:pt x="88" y="23"/>
                    <a:pt x="100" y="23"/>
                  </a:cubicBezTo>
                  <a:cubicBezTo>
                    <a:pt x="110" y="23"/>
                    <a:pt x="120" y="25"/>
                    <a:pt x="128" y="28"/>
                  </a:cubicBezTo>
                  <a:cubicBezTo>
                    <a:pt x="136" y="32"/>
                    <a:pt x="143" y="36"/>
                    <a:pt x="147" y="42"/>
                  </a:cubicBezTo>
                  <a:cubicBezTo>
                    <a:pt x="151" y="48"/>
                    <a:pt x="155" y="56"/>
                    <a:pt x="158" y="66"/>
                  </a:cubicBezTo>
                  <a:cubicBezTo>
                    <a:pt x="182" y="60"/>
                    <a:pt x="182" y="60"/>
                    <a:pt x="182" y="60"/>
                  </a:cubicBezTo>
                  <a:cubicBezTo>
                    <a:pt x="179" y="46"/>
                    <a:pt x="174" y="35"/>
                    <a:pt x="167" y="27"/>
                  </a:cubicBezTo>
                  <a:cubicBezTo>
                    <a:pt x="160" y="19"/>
                    <a:pt x="151" y="12"/>
                    <a:pt x="139" y="7"/>
                  </a:cubicBezTo>
                  <a:cubicBezTo>
                    <a:pt x="128" y="3"/>
                    <a:pt x="115" y="0"/>
                    <a:pt x="100" y="0"/>
                  </a:cubicBezTo>
                  <a:cubicBezTo>
                    <a:pt x="80" y="0"/>
                    <a:pt x="63" y="4"/>
                    <a:pt x="47" y="13"/>
                  </a:cubicBezTo>
                  <a:cubicBezTo>
                    <a:pt x="32" y="21"/>
                    <a:pt x="20" y="33"/>
                    <a:pt x="12" y="50"/>
                  </a:cubicBezTo>
                  <a:cubicBezTo>
                    <a:pt x="4" y="67"/>
                    <a:pt x="0" y="85"/>
                    <a:pt x="0" y="105"/>
                  </a:cubicBezTo>
                  <a:cubicBezTo>
                    <a:pt x="0" y="124"/>
                    <a:pt x="4" y="142"/>
                    <a:pt x="12" y="158"/>
                  </a:cubicBezTo>
                  <a:cubicBezTo>
                    <a:pt x="20" y="174"/>
                    <a:pt x="33" y="186"/>
                    <a:pt x="49" y="195"/>
                  </a:cubicBezTo>
                  <a:cubicBezTo>
                    <a:pt x="65" y="203"/>
                    <a:pt x="83" y="207"/>
                    <a:pt x="102" y="207"/>
                  </a:cubicBezTo>
                  <a:cubicBezTo>
                    <a:pt x="117" y="207"/>
                    <a:pt x="131" y="205"/>
                    <a:pt x="145" y="199"/>
                  </a:cubicBezTo>
                  <a:cubicBezTo>
                    <a:pt x="159" y="194"/>
                    <a:pt x="172" y="186"/>
                    <a:pt x="185" y="176"/>
                  </a:cubicBezTo>
                  <a:cubicBezTo>
                    <a:pt x="185" y="102"/>
                    <a:pt x="185" y="102"/>
                    <a:pt x="185" y="10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100" y="125"/>
                    <a:pt x="100" y="125"/>
                    <a:pt x="100" y="125"/>
                  </a:cubicBezTo>
                  <a:lnTo>
                    <a:pt x="159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1" name="Freeform 101"/>
            <p:cNvSpPr>
              <a:spLocks noEditPoints="1"/>
            </p:cNvSpPr>
            <p:nvPr userDrawn="1"/>
          </p:nvSpPr>
          <p:spPr bwMode="black">
            <a:xfrm>
              <a:off x="-469" y="2904"/>
              <a:ext cx="416" cy="474"/>
            </a:xfrm>
            <a:custGeom>
              <a:avLst/>
              <a:gdLst>
                <a:gd name="T0" fmla="*/ 26 w 176"/>
                <a:gd name="T1" fmla="*/ 200 h 200"/>
                <a:gd name="T2" fmla="*/ 26 w 176"/>
                <a:gd name="T3" fmla="*/ 111 h 200"/>
                <a:gd name="T4" fmla="*/ 57 w 176"/>
                <a:gd name="T5" fmla="*/ 111 h 200"/>
                <a:gd name="T6" fmla="*/ 72 w 176"/>
                <a:gd name="T7" fmla="*/ 112 h 200"/>
                <a:gd name="T8" fmla="*/ 84 w 176"/>
                <a:gd name="T9" fmla="*/ 117 h 200"/>
                <a:gd name="T10" fmla="*/ 97 w 176"/>
                <a:gd name="T11" fmla="*/ 131 h 200"/>
                <a:gd name="T12" fmla="*/ 116 w 176"/>
                <a:gd name="T13" fmla="*/ 158 h 200"/>
                <a:gd name="T14" fmla="*/ 143 w 176"/>
                <a:gd name="T15" fmla="*/ 200 h 200"/>
                <a:gd name="T16" fmla="*/ 176 w 176"/>
                <a:gd name="T17" fmla="*/ 200 h 200"/>
                <a:gd name="T18" fmla="*/ 141 w 176"/>
                <a:gd name="T19" fmla="*/ 145 h 200"/>
                <a:gd name="T20" fmla="*/ 119 w 176"/>
                <a:gd name="T21" fmla="*/ 119 h 200"/>
                <a:gd name="T22" fmla="*/ 103 w 176"/>
                <a:gd name="T23" fmla="*/ 109 h 200"/>
                <a:gd name="T24" fmla="*/ 146 w 176"/>
                <a:gd name="T25" fmla="*/ 90 h 200"/>
                <a:gd name="T26" fmla="*/ 160 w 176"/>
                <a:gd name="T27" fmla="*/ 54 h 200"/>
                <a:gd name="T28" fmla="*/ 151 w 176"/>
                <a:gd name="T29" fmla="*/ 24 h 200"/>
                <a:gd name="T30" fmla="*/ 129 w 176"/>
                <a:gd name="T31" fmla="*/ 5 h 200"/>
                <a:gd name="T32" fmla="*/ 89 w 176"/>
                <a:gd name="T33" fmla="*/ 0 h 200"/>
                <a:gd name="T34" fmla="*/ 0 w 176"/>
                <a:gd name="T35" fmla="*/ 0 h 200"/>
                <a:gd name="T36" fmla="*/ 0 w 176"/>
                <a:gd name="T37" fmla="*/ 200 h 200"/>
                <a:gd name="T38" fmla="*/ 26 w 176"/>
                <a:gd name="T39" fmla="*/ 200 h 200"/>
                <a:gd name="T40" fmla="*/ 26 w 176"/>
                <a:gd name="T41" fmla="*/ 22 h 200"/>
                <a:gd name="T42" fmla="*/ 90 w 176"/>
                <a:gd name="T43" fmla="*/ 22 h 200"/>
                <a:gd name="T44" fmla="*/ 122 w 176"/>
                <a:gd name="T45" fmla="*/ 31 h 200"/>
                <a:gd name="T46" fmla="*/ 132 w 176"/>
                <a:gd name="T47" fmla="*/ 54 h 200"/>
                <a:gd name="T48" fmla="*/ 127 w 176"/>
                <a:gd name="T49" fmla="*/ 72 h 200"/>
                <a:gd name="T50" fmla="*/ 112 w 176"/>
                <a:gd name="T51" fmla="*/ 84 h 200"/>
                <a:gd name="T52" fmla="*/ 83 w 176"/>
                <a:gd name="T53" fmla="*/ 88 h 200"/>
                <a:gd name="T54" fmla="*/ 26 w 176"/>
                <a:gd name="T55" fmla="*/ 88 h 200"/>
                <a:gd name="T56" fmla="*/ 26 w 176"/>
                <a:gd name="T57" fmla="*/ 2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6" h="200">
                  <a:moveTo>
                    <a:pt x="26" y="200"/>
                  </a:moveTo>
                  <a:cubicBezTo>
                    <a:pt x="26" y="111"/>
                    <a:pt x="26" y="111"/>
                    <a:pt x="26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64" y="111"/>
                    <a:pt x="69" y="111"/>
                    <a:pt x="72" y="112"/>
                  </a:cubicBezTo>
                  <a:cubicBezTo>
                    <a:pt x="76" y="113"/>
                    <a:pt x="80" y="115"/>
                    <a:pt x="84" y="117"/>
                  </a:cubicBezTo>
                  <a:cubicBezTo>
                    <a:pt x="88" y="120"/>
                    <a:pt x="92" y="124"/>
                    <a:pt x="97" y="131"/>
                  </a:cubicBezTo>
                  <a:cubicBezTo>
                    <a:pt x="102" y="137"/>
                    <a:pt x="109" y="146"/>
                    <a:pt x="116" y="158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176" y="200"/>
                    <a:pt x="176" y="200"/>
                    <a:pt x="176" y="200"/>
                  </a:cubicBezTo>
                  <a:cubicBezTo>
                    <a:pt x="141" y="145"/>
                    <a:pt x="141" y="145"/>
                    <a:pt x="141" y="145"/>
                  </a:cubicBezTo>
                  <a:cubicBezTo>
                    <a:pt x="134" y="135"/>
                    <a:pt x="127" y="126"/>
                    <a:pt x="119" y="119"/>
                  </a:cubicBezTo>
                  <a:cubicBezTo>
                    <a:pt x="116" y="115"/>
                    <a:pt x="110" y="112"/>
                    <a:pt x="103" y="109"/>
                  </a:cubicBezTo>
                  <a:cubicBezTo>
                    <a:pt x="123" y="106"/>
                    <a:pt x="137" y="100"/>
                    <a:pt x="146" y="90"/>
                  </a:cubicBezTo>
                  <a:cubicBezTo>
                    <a:pt x="155" y="80"/>
                    <a:pt x="160" y="69"/>
                    <a:pt x="160" y="54"/>
                  </a:cubicBezTo>
                  <a:cubicBezTo>
                    <a:pt x="160" y="43"/>
                    <a:pt x="157" y="33"/>
                    <a:pt x="151" y="24"/>
                  </a:cubicBezTo>
                  <a:cubicBezTo>
                    <a:pt x="146" y="15"/>
                    <a:pt x="138" y="9"/>
                    <a:pt x="129" y="5"/>
                  </a:cubicBezTo>
                  <a:cubicBezTo>
                    <a:pt x="120" y="1"/>
                    <a:pt x="106" y="0"/>
                    <a:pt x="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6" y="200"/>
                  </a:lnTo>
                  <a:close/>
                  <a:moveTo>
                    <a:pt x="26" y="22"/>
                  </a:moveTo>
                  <a:cubicBezTo>
                    <a:pt x="90" y="22"/>
                    <a:pt x="90" y="22"/>
                    <a:pt x="90" y="22"/>
                  </a:cubicBezTo>
                  <a:cubicBezTo>
                    <a:pt x="104" y="22"/>
                    <a:pt x="115" y="25"/>
                    <a:pt x="122" y="31"/>
                  </a:cubicBezTo>
                  <a:cubicBezTo>
                    <a:pt x="129" y="37"/>
                    <a:pt x="132" y="45"/>
                    <a:pt x="132" y="54"/>
                  </a:cubicBezTo>
                  <a:cubicBezTo>
                    <a:pt x="132" y="61"/>
                    <a:pt x="131" y="67"/>
                    <a:pt x="127" y="72"/>
                  </a:cubicBezTo>
                  <a:cubicBezTo>
                    <a:pt x="124" y="78"/>
                    <a:pt x="118" y="82"/>
                    <a:pt x="112" y="84"/>
                  </a:cubicBezTo>
                  <a:cubicBezTo>
                    <a:pt x="105" y="87"/>
                    <a:pt x="95" y="88"/>
                    <a:pt x="83" y="88"/>
                  </a:cubicBezTo>
                  <a:cubicBezTo>
                    <a:pt x="26" y="88"/>
                    <a:pt x="26" y="88"/>
                    <a:pt x="26" y="88"/>
                  </a:cubicBezTo>
                  <a:lnTo>
                    <a:pt x="2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2" name="Freeform 102"/>
            <p:cNvSpPr>
              <a:spLocks noEditPoints="1"/>
            </p:cNvSpPr>
            <p:nvPr userDrawn="1"/>
          </p:nvSpPr>
          <p:spPr bwMode="black">
            <a:xfrm>
              <a:off x="-51" y="2904"/>
              <a:ext cx="442" cy="474"/>
            </a:xfrm>
            <a:custGeom>
              <a:avLst/>
              <a:gdLst>
                <a:gd name="T0" fmla="*/ 28 w 187"/>
                <a:gd name="T1" fmla="*/ 200 h 200"/>
                <a:gd name="T2" fmla="*/ 50 w 187"/>
                <a:gd name="T3" fmla="*/ 139 h 200"/>
                <a:gd name="T4" fmla="*/ 133 w 187"/>
                <a:gd name="T5" fmla="*/ 139 h 200"/>
                <a:gd name="T6" fmla="*/ 157 w 187"/>
                <a:gd name="T7" fmla="*/ 200 h 200"/>
                <a:gd name="T8" fmla="*/ 187 w 187"/>
                <a:gd name="T9" fmla="*/ 200 h 200"/>
                <a:gd name="T10" fmla="*/ 105 w 187"/>
                <a:gd name="T11" fmla="*/ 0 h 200"/>
                <a:gd name="T12" fmla="*/ 76 w 187"/>
                <a:gd name="T13" fmla="*/ 0 h 200"/>
                <a:gd name="T14" fmla="*/ 0 w 187"/>
                <a:gd name="T15" fmla="*/ 200 h 200"/>
                <a:gd name="T16" fmla="*/ 28 w 187"/>
                <a:gd name="T17" fmla="*/ 200 h 200"/>
                <a:gd name="T18" fmla="*/ 79 w 187"/>
                <a:gd name="T19" fmla="*/ 59 h 200"/>
                <a:gd name="T20" fmla="*/ 90 w 187"/>
                <a:gd name="T21" fmla="*/ 21 h 200"/>
                <a:gd name="T22" fmla="*/ 104 w 187"/>
                <a:gd name="T23" fmla="*/ 62 h 200"/>
                <a:gd name="T24" fmla="*/ 125 w 187"/>
                <a:gd name="T25" fmla="*/ 118 h 200"/>
                <a:gd name="T26" fmla="*/ 57 w 187"/>
                <a:gd name="T27" fmla="*/ 118 h 200"/>
                <a:gd name="T28" fmla="*/ 79 w 187"/>
                <a:gd name="T29" fmla="*/ 5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200">
                  <a:moveTo>
                    <a:pt x="28" y="200"/>
                  </a:moveTo>
                  <a:cubicBezTo>
                    <a:pt x="50" y="139"/>
                    <a:pt x="50" y="139"/>
                    <a:pt x="50" y="139"/>
                  </a:cubicBezTo>
                  <a:cubicBezTo>
                    <a:pt x="133" y="139"/>
                    <a:pt x="133" y="139"/>
                    <a:pt x="133" y="139"/>
                  </a:cubicBezTo>
                  <a:cubicBezTo>
                    <a:pt x="157" y="200"/>
                    <a:pt x="157" y="200"/>
                    <a:pt x="157" y="200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28" y="200"/>
                  </a:lnTo>
                  <a:close/>
                  <a:moveTo>
                    <a:pt x="79" y="59"/>
                  </a:moveTo>
                  <a:cubicBezTo>
                    <a:pt x="84" y="46"/>
                    <a:pt x="88" y="34"/>
                    <a:pt x="90" y="21"/>
                  </a:cubicBezTo>
                  <a:cubicBezTo>
                    <a:pt x="93" y="32"/>
                    <a:pt x="98" y="45"/>
                    <a:pt x="104" y="62"/>
                  </a:cubicBezTo>
                  <a:cubicBezTo>
                    <a:pt x="125" y="118"/>
                    <a:pt x="125" y="118"/>
                    <a:pt x="125" y="118"/>
                  </a:cubicBezTo>
                  <a:cubicBezTo>
                    <a:pt x="57" y="118"/>
                    <a:pt x="57" y="118"/>
                    <a:pt x="57" y="118"/>
                  </a:cubicBezTo>
                  <a:lnTo>
                    <a:pt x="79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3" name="Freeform 103"/>
            <p:cNvSpPr>
              <a:spLocks/>
            </p:cNvSpPr>
            <p:nvPr userDrawn="1"/>
          </p:nvSpPr>
          <p:spPr bwMode="black">
            <a:xfrm>
              <a:off x="396" y="2904"/>
              <a:ext cx="376" cy="474"/>
            </a:xfrm>
            <a:custGeom>
              <a:avLst/>
              <a:gdLst>
                <a:gd name="T0" fmla="*/ 159 w 159"/>
                <a:gd name="T1" fmla="*/ 200 h 200"/>
                <a:gd name="T2" fmla="*/ 159 w 159"/>
                <a:gd name="T3" fmla="*/ 176 h 200"/>
                <a:gd name="T4" fmla="*/ 31 w 159"/>
                <a:gd name="T5" fmla="*/ 176 h 200"/>
                <a:gd name="T6" fmla="*/ 43 w 159"/>
                <a:gd name="T7" fmla="*/ 162 h 200"/>
                <a:gd name="T8" fmla="*/ 155 w 159"/>
                <a:gd name="T9" fmla="*/ 23 h 200"/>
                <a:gd name="T10" fmla="*/ 155 w 159"/>
                <a:gd name="T11" fmla="*/ 0 h 200"/>
                <a:gd name="T12" fmla="*/ 12 w 159"/>
                <a:gd name="T13" fmla="*/ 0 h 200"/>
                <a:gd name="T14" fmla="*/ 12 w 159"/>
                <a:gd name="T15" fmla="*/ 23 h 200"/>
                <a:gd name="T16" fmla="*/ 124 w 159"/>
                <a:gd name="T17" fmla="*/ 23 h 200"/>
                <a:gd name="T18" fmla="*/ 103 w 159"/>
                <a:gd name="T19" fmla="*/ 47 h 200"/>
                <a:gd name="T20" fmla="*/ 0 w 159"/>
                <a:gd name="T21" fmla="*/ 175 h 200"/>
                <a:gd name="T22" fmla="*/ 0 w 159"/>
                <a:gd name="T23" fmla="*/ 200 h 200"/>
                <a:gd name="T24" fmla="*/ 159 w 159"/>
                <a:gd name="T25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9" h="200">
                  <a:moveTo>
                    <a:pt x="159" y="200"/>
                  </a:moveTo>
                  <a:cubicBezTo>
                    <a:pt x="159" y="176"/>
                    <a:pt x="159" y="176"/>
                    <a:pt x="159" y="176"/>
                  </a:cubicBezTo>
                  <a:cubicBezTo>
                    <a:pt x="31" y="176"/>
                    <a:pt x="31" y="176"/>
                    <a:pt x="31" y="176"/>
                  </a:cubicBezTo>
                  <a:cubicBezTo>
                    <a:pt x="43" y="162"/>
                    <a:pt x="43" y="162"/>
                    <a:pt x="43" y="162"/>
                  </a:cubicBezTo>
                  <a:cubicBezTo>
                    <a:pt x="155" y="23"/>
                    <a:pt x="155" y="23"/>
                    <a:pt x="155" y="23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17" y="30"/>
                    <a:pt x="110" y="38"/>
                    <a:pt x="103" y="47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159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4" name="Rectangle 104"/>
            <p:cNvSpPr>
              <a:spLocks noChangeArrowheads="1"/>
            </p:cNvSpPr>
            <p:nvPr userDrawn="1"/>
          </p:nvSpPr>
          <p:spPr bwMode="black">
            <a:xfrm>
              <a:off x="843" y="2904"/>
              <a:ext cx="61" cy="4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5" name="Freeform 105"/>
            <p:cNvSpPr>
              <a:spLocks/>
            </p:cNvSpPr>
            <p:nvPr userDrawn="1"/>
          </p:nvSpPr>
          <p:spPr bwMode="black">
            <a:xfrm>
              <a:off x="1011" y="2904"/>
              <a:ext cx="352" cy="474"/>
            </a:xfrm>
            <a:custGeom>
              <a:avLst/>
              <a:gdLst>
                <a:gd name="T0" fmla="*/ 352 w 352"/>
                <a:gd name="T1" fmla="*/ 474 h 474"/>
                <a:gd name="T2" fmla="*/ 352 w 352"/>
                <a:gd name="T3" fmla="*/ 417 h 474"/>
                <a:gd name="T4" fmla="*/ 61 w 352"/>
                <a:gd name="T5" fmla="*/ 417 h 474"/>
                <a:gd name="T6" fmla="*/ 61 w 352"/>
                <a:gd name="T7" fmla="*/ 256 h 474"/>
                <a:gd name="T8" fmla="*/ 323 w 352"/>
                <a:gd name="T9" fmla="*/ 256 h 474"/>
                <a:gd name="T10" fmla="*/ 323 w 352"/>
                <a:gd name="T11" fmla="*/ 201 h 474"/>
                <a:gd name="T12" fmla="*/ 61 w 352"/>
                <a:gd name="T13" fmla="*/ 201 h 474"/>
                <a:gd name="T14" fmla="*/ 61 w 352"/>
                <a:gd name="T15" fmla="*/ 55 h 474"/>
                <a:gd name="T16" fmla="*/ 340 w 352"/>
                <a:gd name="T17" fmla="*/ 55 h 474"/>
                <a:gd name="T18" fmla="*/ 340 w 352"/>
                <a:gd name="T19" fmla="*/ 0 h 474"/>
                <a:gd name="T20" fmla="*/ 0 w 352"/>
                <a:gd name="T21" fmla="*/ 0 h 474"/>
                <a:gd name="T22" fmla="*/ 0 w 352"/>
                <a:gd name="T23" fmla="*/ 474 h 474"/>
                <a:gd name="T24" fmla="*/ 352 w 352"/>
                <a:gd name="T25" fmla="*/ 4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2" h="474">
                  <a:moveTo>
                    <a:pt x="352" y="474"/>
                  </a:moveTo>
                  <a:lnTo>
                    <a:pt x="352" y="417"/>
                  </a:lnTo>
                  <a:lnTo>
                    <a:pt x="61" y="417"/>
                  </a:lnTo>
                  <a:lnTo>
                    <a:pt x="61" y="256"/>
                  </a:lnTo>
                  <a:lnTo>
                    <a:pt x="323" y="256"/>
                  </a:lnTo>
                  <a:lnTo>
                    <a:pt x="323" y="201"/>
                  </a:lnTo>
                  <a:lnTo>
                    <a:pt x="61" y="201"/>
                  </a:lnTo>
                  <a:lnTo>
                    <a:pt x="61" y="55"/>
                  </a:lnTo>
                  <a:lnTo>
                    <a:pt x="340" y="55"/>
                  </a:lnTo>
                  <a:lnTo>
                    <a:pt x="340" y="0"/>
                  </a:lnTo>
                  <a:lnTo>
                    <a:pt x="0" y="0"/>
                  </a:lnTo>
                  <a:lnTo>
                    <a:pt x="0" y="474"/>
                  </a:lnTo>
                  <a:lnTo>
                    <a:pt x="352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6" name="Freeform 106"/>
            <p:cNvSpPr>
              <a:spLocks noEditPoints="1"/>
            </p:cNvSpPr>
            <p:nvPr userDrawn="1"/>
          </p:nvSpPr>
          <p:spPr bwMode="black">
            <a:xfrm>
              <a:off x="2412" y="2909"/>
              <a:ext cx="393" cy="473"/>
            </a:xfrm>
            <a:custGeom>
              <a:avLst/>
              <a:gdLst>
                <a:gd name="T0" fmla="*/ 73 w 166"/>
                <a:gd name="T1" fmla="*/ 200 h 200"/>
                <a:gd name="T2" fmla="*/ 105 w 166"/>
                <a:gd name="T3" fmla="*/ 196 h 200"/>
                <a:gd name="T4" fmla="*/ 129 w 166"/>
                <a:gd name="T5" fmla="*/ 186 h 200"/>
                <a:gd name="T6" fmla="*/ 147 w 166"/>
                <a:gd name="T7" fmla="*/ 168 h 200"/>
                <a:gd name="T8" fmla="*/ 161 w 166"/>
                <a:gd name="T9" fmla="*/ 139 h 200"/>
                <a:gd name="T10" fmla="*/ 166 w 166"/>
                <a:gd name="T11" fmla="*/ 99 h 200"/>
                <a:gd name="T12" fmla="*/ 158 w 166"/>
                <a:gd name="T13" fmla="*/ 51 h 200"/>
                <a:gd name="T14" fmla="*/ 134 w 166"/>
                <a:gd name="T15" fmla="*/ 17 h 200"/>
                <a:gd name="T16" fmla="*/ 105 w 166"/>
                <a:gd name="T17" fmla="*/ 2 h 200"/>
                <a:gd name="T18" fmla="*/ 69 w 166"/>
                <a:gd name="T19" fmla="*/ 0 h 200"/>
                <a:gd name="T20" fmla="*/ 0 w 166"/>
                <a:gd name="T21" fmla="*/ 0 h 200"/>
                <a:gd name="T22" fmla="*/ 0 w 166"/>
                <a:gd name="T23" fmla="*/ 200 h 200"/>
                <a:gd name="T24" fmla="*/ 73 w 166"/>
                <a:gd name="T25" fmla="*/ 200 h 200"/>
                <a:gd name="T26" fmla="*/ 27 w 166"/>
                <a:gd name="T27" fmla="*/ 23 h 200"/>
                <a:gd name="T28" fmla="*/ 69 w 166"/>
                <a:gd name="T29" fmla="*/ 23 h 200"/>
                <a:gd name="T30" fmla="*/ 103 w 166"/>
                <a:gd name="T31" fmla="*/ 27 h 200"/>
                <a:gd name="T32" fmla="*/ 128 w 166"/>
                <a:gd name="T33" fmla="*/ 50 h 200"/>
                <a:gd name="T34" fmla="*/ 139 w 166"/>
                <a:gd name="T35" fmla="*/ 98 h 200"/>
                <a:gd name="T36" fmla="*/ 133 w 166"/>
                <a:gd name="T37" fmla="*/ 137 h 200"/>
                <a:gd name="T38" fmla="*/ 119 w 166"/>
                <a:gd name="T39" fmla="*/ 162 h 200"/>
                <a:gd name="T40" fmla="*/ 101 w 166"/>
                <a:gd name="T41" fmla="*/ 172 h 200"/>
                <a:gd name="T42" fmla="*/ 70 w 166"/>
                <a:gd name="T43" fmla="*/ 176 h 200"/>
                <a:gd name="T44" fmla="*/ 27 w 166"/>
                <a:gd name="T45" fmla="*/ 176 h 200"/>
                <a:gd name="T46" fmla="*/ 27 w 166"/>
                <a:gd name="T47" fmla="*/ 2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0">
                  <a:moveTo>
                    <a:pt x="73" y="200"/>
                  </a:moveTo>
                  <a:cubicBezTo>
                    <a:pt x="85" y="200"/>
                    <a:pt x="95" y="199"/>
                    <a:pt x="105" y="196"/>
                  </a:cubicBezTo>
                  <a:cubicBezTo>
                    <a:pt x="114" y="194"/>
                    <a:pt x="122" y="191"/>
                    <a:pt x="129" y="186"/>
                  </a:cubicBezTo>
                  <a:cubicBezTo>
                    <a:pt x="135" y="182"/>
                    <a:pt x="141" y="176"/>
                    <a:pt x="147" y="168"/>
                  </a:cubicBezTo>
                  <a:cubicBezTo>
                    <a:pt x="152" y="160"/>
                    <a:pt x="157" y="151"/>
                    <a:pt x="161" y="139"/>
                  </a:cubicBezTo>
                  <a:cubicBezTo>
                    <a:pt x="164" y="127"/>
                    <a:pt x="166" y="114"/>
                    <a:pt x="166" y="99"/>
                  </a:cubicBezTo>
                  <a:cubicBezTo>
                    <a:pt x="166" y="81"/>
                    <a:pt x="163" y="65"/>
                    <a:pt x="158" y="51"/>
                  </a:cubicBezTo>
                  <a:cubicBezTo>
                    <a:pt x="153" y="37"/>
                    <a:pt x="145" y="26"/>
                    <a:pt x="134" y="17"/>
                  </a:cubicBezTo>
                  <a:cubicBezTo>
                    <a:pt x="126" y="10"/>
                    <a:pt x="116" y="5"/>
                    <a:pt x="105" y="2"/>
                  </a:cubicBezTo>
                  <a:cubicBezTo>
                    <a:pt x="97" y="0"/>
                    <a:pt x="85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73" y="200"/>
                  </a:lnTo>
                  <a:close/>
                  <a:moveTo>
                    <a:pt x="27" y="23"/>
                  </a:moveTo>
                  <a:cubicBezTo>
                    <a:pt x="69" y="23"/>
                    <a:pt x="69" y="23"/>
                    <a:pt x="69" y="23"/>
                  </a:cubicBezTo>
                  <a:cubicBezTo>
                    <a:pt x="85" y="23"/>
                    <a:pt x="96" y="25"/>
                    <a:pt x="103" y="27"/>
                  </a:cubicBezTo>
                  <a:cubicBezTo>
                    <a:pt x="113" y="31"/>
                    <a:pt x="121" y="39"/>
                    <a:pt x="128" y="50"/>
                  </a:cubicBezTo>
                  <a:cubicBezTo>
                    <a:pt x="135" y="61"/>
                    <a:pt x="139" y="77"/>
                    <a:pt x="139" y="98"/>
                  </a:cubicBezTo>
                  <a:cubicBezTo>
                    <a:pt x="139" y="113"/>
                    <a:pt x="137" y="126"/>
                    <a:pt x="133" y="137"/>
                  </a:cubicBezTo>
                  <a:cubicBezTo>
                    <a:pt x="130" y="147"/>
                    <a:pt x="125" y="156"/>
                    <a:pt x="119" y="162"/>
                  </a:cubicBezTo>
                  <a:cubicBezTo>
                    <a:pt x="114" y="166"/>
                    <a:pt x="108" y="170"/>
                    <a:pt x="101" y="172"/>
                  </a:cubicBezTo>
                  <a:cubicBezTo>
                    <a:pt x="93" y="175"/>
                    <a:pt x="83" y="176"/>
                    <a:pt x="70" y="176"/>
                  </a:cubicBezTo>
                  <a:cubicBezTo>
                    <a:pt x="27" y="176"/>
                    <a:pt x="27" y="176"/>
                    <a:pt x="27" y="176"/>
                  </a:cubicBezTo>
                  <a:lnTo>
                    <a:pt x="2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7" name="Freeform 107"/>
            <p:cNvSpPr>
              <a:spLocks/>
            </p:cNvSpPr>
            <p:nvPr userDrawn="1"/>
          </p:nvSpPr>
          <p:spPr bwMode="black">
            <a:xfrm>
              <a:off x="2847" y="2909"/>
              <a:ext cx="374" cy="473"/>
            </a:xfrm>
            <a:custGeom>
              <a:avLst/>
              <a:gdLst>
                <a:gd name="T0" fmla="*/ 158 w 158"/>
                <a:gd name="T1" fmla="*/ 200 h 200"/>
                <a:gd name="T2" fmla="*/ 158 w 158"/>
                <a:gd name="T3" fmla="*/ 176 h 200"/>
                <a:gd name="T4" fmla="*/ 30 w 158"/>
                <a:gd name="T5" fmla="*/ 176 h 200"/>
                <a:gd name="T6" fmla="*/ 42 w 158"/>
                <a:gd name="T7" fmla="*/ 162 h 200"/>
                <a:gd name="T8" fmla="*/ 155 w 158"/>
                <a:gd name="T9" fmla="*/ 23 h 200"/>
                <a:gd name="T10" fmla="*/ 155 w 158"/>
                <a:gd name="T11" fmla="*/ 0 h 200"/>
                <a:gd name="T12" fmla="*/ 11 w 158"/>
                <a:gd name="T13" fmla="*/ 0 h 200"/>
                <a:gd name="T14" fmla="*/ 11 w 158"/>
                <a:gd name="T15" fmla="*/ 23 h 200"/>
                <a:gd name="T16" fmla="*/ 123 w 158"/>
                <a:gd name="T17" fmla="*/ 23 h 200"/>
                <a:gd name="T18" fmla="*/ 102 w 158"/>
                <a:gd name="T19" fmla="*/ 47 h 200"/>
                <a:gd name="T20" fmla="*/ 0 w 158"/>
                <a:gd name="T21" fmla="*/ 175 h 200"/>
                <a:gd name="T22" fmla="*/ 0 w 158"/>
                <a:gd name="T23" fmla="*/ 200 h 200"/>
                <a:gd name="T24" fmla="*/ 158 w 158"/>
                <a:gd name="T25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8" h="200">
                  <a:moveTo>
                    <a:pt x="158" y="200"/>
                  </a:moveTo>
                  <a:cubicBezTo>
                    <a:pt x="158" y="176"/>
                    <a:pt x="158" y="176"/>
                    <a:pt x="158" y="176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42" y="162"/>
                    <a:pt x="42" y="162"/>
                    <a:pt x="42" y="162"/>
                  </a:cubicBezTo>
                  <a:cubicBezTo>
                    <a:pt x="155" y="23"/>
                    <a:pt x="155" y="23"/>
                    <a:pt x="155" y="23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16" y="30"/>
                    <a:pt x="109" y="38"/>
                    <a:pt x="102" y="47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158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8" name="Rectangle 108"/>
            <p:cNvSpPr>
              <a:spLocks noChangeArrowheads="1"/>
            </p:cNvSpPr>
            <p:nvPr userDrawn="1"/>
          </p:nvSpPr>
          <p:spPr bwMode="black">
            <a:xfrm>
              <a:off x="3292" y="2909"/>
              <a:ext cx="63" cy="4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9" name="Freeform 109"/>
            <p:cNvSpPr>
              <a:spLocks noEditPoints="1"/>
            </p:cNvSpPr>
            <p:nvPr userDrawn="1"/>
          </p:nvSpPr>
          <p:spPr bwMode="black">
            <a:xfrm>
              <a:off x="3459" y="2909"/>
              <a:ext cx="353" cy="611"/>
            </a:xfrm>
            <a:custGeom>
              <a:avLst/>
              <a:gdLst>
                <a:gd name="T0" fmla="*/ 149 w 149"/>
                <a:gd name="T1" fmla="*/ 200 h 258"/>
                <a:gd name="T2" fmla="*/ 149 w 149"/>
                <a:gd name="T3" fmla="*/ 176 h 258"/>
                <a:gd name="T4" fmla="*/ 27 w 149"/>
                <a:gd name="T5" fmla="*/ 176 h 258"/>
                <a:gd name="T6" fmla="*/ 27 w 149"/>
                <a:gd name="T7" fmla="*/ 108 h 258"/>
                <a:gd name="T8" fmla="*/ 137 w 149"/>
                <a:gd name="T9" fmla="*/ 108 h 258"/>
                <a:gd name="T10" fmla="*/ 137 w 149"/>
                <a:gd name="T11" fmla="*/ 84 h 258"/>
                <a:gd name="T12" fmla="*/ 27 w 149"/>
                <a:gd name="T13" fmla="*/ 84 h 258"/>
                <a:gd name="T14" fmla="*/ 27 w 149"/>
                <a:gd name="T15" fmla="*/ 23 h 258"/>
                <a:gd name="T16" fmla="*/ 145 w 149"/>
                <a:gd name="T17" fmla="*/ 23 h 258"/>
                <a:gd name="T18" fmla="*/ 145 w 149"/>
                <a:gd name="T19" fmla="*/ 0 h 258"/>
                <a:gd name="T20" fmla="*/ 0 w 149"/>
                <a:gd name="T21" fmla="*/ 0 h 258"/>
                <a:gd name="T22" fmla="*/ 0 w 149"/>
                <a:gd name="T23" fmla="*/ 200 h 258"/>
                <a:gd name="T24" fmla="*/ 149 w 149"/>
                <a:gd name="T25" fmla="*/ 200 h 258"/>
                <a:gd name="T26" fmla="*/ 122 w 149"/>
                <a:gd name="T27" fmla="*/ 200 h 258"/>
                <a:gd name="T28" fmla="*/ 108 w 149"/>
                <a:gd name="T29" fmla="*/ 216 h 258"/>
                <a:gd name="T30" fmla="*/ 103 w 149"/>
                <a:gd name="T31" fmla="*/ 233 h 258"/>
                <a:gd name="T32" fmla="*/ 105 w 149"/>
                <a:gd name="T33" fmla="*/ 243 h 258"/>
                <a:gd name="T34" fmla="*/ 110 w 149"/>
                <a:gd name="T35" fmla="*/ 251 h 258"/>
                <a:gd name="T36" fmla="*/ 119 w 149"/>
                <a:gd name="T37" fmla="*/ 256 h 258"/>
                <a:gd name="T38" fmla="*/ 131 w 149"/>
                <a:gd name="T39" fmla="*/ 258 h 258"/>
                <a:gd name="T40" fmla="*/ 149 w 149"/>
                <a:gd name="T41" fmla="*/ 254 h 258"/>
                <a:gd name="T42" fmla="*/ 149 w 149"/>
                <a:gd name="T43" fmla="*/ 236 h 258"/>
                <a:gd name="T44" fmla="*/ 143 w 149"/>
                <a:gd name="T45" fmla="*/ 239 h 258"/>
                <a:gd name="T46" fmla="*/ 137 w 149"/>
                <a:gd name="T47" fmla="*/ 239 h 258"/>
                <a:gd name="T48" fmla="*/ 127 w 149"/>
                <a:gd name="T49" fmla="*/ 235 h 258"/>
                <a:gd name="T50" fmla="*/ 124 w 149"/>
                <a:gd name="T51" fmla="*/ 226 h 258"/>
                <a:gd name="T52" fmla="*/ 128 w 149"/>
                <a:gd name="T53" fmla="*/ 212 h 258"/>
                <a:gd name="T54" fmla="*/ 140 w 149"/>
                <a:gd name="T55" fmla="*/ 200 h 258"/>
                <a:gd name="T56" fmla="*/ 122 w 149"/>
                <a:gd name="T57" fmla="*/ 20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9" h="258">
                  <a:moveTo>
                    <a:pt x="149" y="200"/>
                  </a:moveTo>
                  <a:cubicBezTo>
                    <a:pt x="149" y="176"/>
                    <a:pt x="149" y="176"/>
                    <a:pt x="149" y="176"/>
                  </a:cubicBezTo>
                  <a:cubicBezTo>
                    <a:pt x="27" y="176"/>
                    <a:pt x="27" y="176"/>
                    <a:pt x="27" y="176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149" y="200"/>
                  </a:lnTo>
                  <a:close/>
                  <a:moveTo>
                    <a:pt x="122" y="200"/>
                  </a:moveTo>
                  <a:cubicBezTo>
                    <a:pt x="116" y="205"/>
                    <a:pt x="111" y="210"/>
                    <a:pt x="108" y="216"/>
                  </a:cubicBezTo>
                  <a:cubicBezTo>
                    <a:pt x="105" y="222"/>
                    <a:pt x="103" y="227"/>
                    <a:pt x="103" y="233"/>
                  </a:cubicBezTo>
                  <a:cubicBezTo>
                    <a:pt x="103" y="237"/>
                    <a:pt x="104" y="240"/>
                    <a:pt x="105" y="243"/>
                  </a:cubicBezTo>
                  <a:cubicBezTo>
                    <a:pt x="106" y="246"/>
                    <a:pt x="108" y="249"/>
                    <a:pt x="110" y="251"/>
                  </a:cubicBezTo>
                  <a:cubicBezTo>
                    <a:pt x="112" y="253"/>
                    <a:pt x="115" y="255"/>
                    <a:pt x="119" y="256"/>
                  </a:cubicBezTo>
                  <a:cubicBezTo>
                    <a:pt x="122" y="258"/>
                    <a:pt x="126" y="258"/>
                    <a:pt x="131" y="258"/>
                  </a:cubicBezTo>
                  <a:cubicBezTo>
                    <a:pt x="137" y="258"/>
                    <a:pt x="143" y="257"/>
                    <a:pt x="149" y="254"/>
                  </a:cubicBezTo>
                  <a:cubicBezTo>
                    <a:pt x="149" y="236"/>
                    <a:pt x="149" y="236"/>
                    <a:pt x="149" y="236"/>
                  </a:cubicBezTo>
                  <a:cubicBezTo>
                    <a:pt x="148" y="237"/>
                    <a:pt x="146" y="238"/>
                    <a:pt x="143" y="239"/>
                  </a:cubicBezTo>
                  <a:cubicBezTo>
                    <a:pt x="141" y="239"/>
                    <a:pt x="139" y="239"/>
                    <a:pt x="137" y="239"/>
                  </a:cubicBezTo>
                  <a:cubicBezTo>
                    <a:pt x="132" y="239"/>
                    <a:pt x="129" y="238"/>
                    <a:pt x="127" y="235"/>
                  </a:cubicBezTo>
                  <a:cubicBezTo>
                    <a:pt x="125" y="233"/>
                    <a:pt x="124" y="230"/>
                    <a:pt x="124" y="226"/>
                  </a:cubicBezTo>
                  <a:cubicBezTo>
                    <a:pt x="124" y="221"/>
                    <a:pt x="125" y="216"/>
                    <a:pt x="128" y="212"/>
                  </a:cubicBezTo>
                  <a:cubicBezTo>
                    <a:pt x="131" y="207"/>
                    <a:pt x="135" y="203"/>
                    <a:pt x="140" y="200"/>
                  </a:cubicBezTo>
                  <a:lnTo>
                    <a:pt x="122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110"/>
            <p:cNvSpPr>
              <a:spLocks/>
            </p:cNvSpPr>
            <p:nvPr userDrawn="1"/>
          </p:nvSpPr>
          <p:spPr bwMode="black">
            <a:xfrm>
              <a:off x="3890" y="2909"/>
              <a:ext cx="392" cy="473"/>
            </a:xfrm>
            <a:custGeom>
              <a:avLst/>
              <a:gdLst>
                <a:gd name="T0" fmla="*/ 64 w 392"/>
                <a:gd name="T1" fmla="*/ 473 h 473"/>
                <a:gd name="T2" fmla="*/ 64 w 392"/>
                <a:gd name="T3" fmla="*/ 308 h 473"/>
                <a:gd name="T4" fmla="*/ 139 w 392"/>
                <a:gd name="T5" fmla="*/ 232 h 473"/>
                <a:gd name="T6" fmla="*/ 309 w 392"/>
                <a:gd name="T7" fmla="*/ 473 h 473"/>
                <a:gd name="T8" fmla="*/ 392 w 392"/>
                <a:gd name="T9" fmla="*/ 473 h 473"/>
                <a:gd name="T10" fmla="*/ 184 w 392"/>
                <a:gd name="T11" fmla="*/ 192 h 473"/>
                <a:gd name="T12" fmla="*/ 383 w 392"/>
                <a:gd name="T13" fmla="*/ 0 h 473"/>
                <a:gd name="T14" fmla="*/ 298 w 392"/>
                <a:gd name="T15" fmla="*/ 0 h 473"/>
                <a:gd name="T16" fmla="*/ 64 w 392"/>
                <a:gd name="T17" fmla="*/ 234 h 473"/>
                <a:gd name="T18" fmla="*/ 64 w 392"/>
                <a:gd name="T19" fmla="*/ 0 h 473"/>
                <a:gd name="T20" fmla="*/ 0 w 392"/>
                <a:gd name="T21" fmla="*/ 0 h 473"/>
                <a:gd name="T22" fmla="*/ 0 w 392"/>
                <a:gd name="T23" fmla="*/ 473 h 473"/>
                <a:gd name="T24" fmla="*/ 64 w 392"/>
                <a:gd name="T25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473">
                  <a:moveTo>
                    <a:pt x="64" y="473"/>
                  </a:moveTo>
                  <a:lnTo>
                    <a:pt x="64" y="308"/>
                  </a:lnTo>
                  <a:lnTo>
                    <a:pt x="139" y="232"/>
                  </a:lnTo>
                  <a:lnTo>
                    <a:pt x="309" y="473"/>
                  </a:lnTo>
                  <a:lnTo>
                    <a:pt x="392" y="473"/>
                  </a:lnTo>
                  <a:lnTo>
                    <a:pt x="184" y="192"/>
                  </a:lnTo>
                  <a:lnTo>
                    <a:pt x="383" y="0"/>
                  </a:lnTo>
                  <a:lnTo>
                    <a:pt x="298" y="0"/>
                  </a:lnTo>
                  <a:lnTo>
                    <a:pt x="64" y="234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473"/>
                  </a:lnTo>
                  <a:lnTo>
                    <a:pt x="64" y="4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1" name="Freeform 111"/>
            <p:cNvSpPr>
              <a:spLocks/>
            </p:cNvSpPr>
            <p:nvPr userDrawn="1"/>
          </p:nvSpPr>
          <p:spPr bwMode="black">
            <a:xfrm>
              <a:off x="4327" y="2909"/>
              <a:ext cx="374" cy="480"/>
            </a:xfrm>
            <a:custGeom>
              <a:avLst/>
              <a:gdLst>
                <a:gd name="T0" fmla="*/ 131 w 158"/>
                <a:gd name="T1" fmla="*/ 115 h 203"/>
                <a:gd name="T2" fmla="*/ 119 w 158"/>
                <a:gd name="T3" fmla="*/ 166 h 203"/>
                <a:gd name="T4" fmla="*/ 77 w 158"/>
                <a:gd name="T5" fmla="*/ 179 h 203"/>
                <a:gd name="T6" fmla="*/ 48 w 158"/>
                <a:gd name="T7" fmla="*/ 173 h 203"/>
                <a:gd name="T8" fmla="*/ 32 w 158"/>
                <a:gd name="T9" fmla="*/ 153 h 203"/>
                <a:gd name="T10" fmla="*/ 27 w 158"/>
                <a:gd name="T11" fmla="*/ 115 h 203"/>
                <a:gd name="T12" fmla="*/ 27 w 158"/>
                <a:gd name="T13" fmla="*/ 0 h 203"/>
                <a:gd name="T14" fmla="*/ 0 w 158"/>
                <a:gd name="T15" fmla="*/ 0 h 203"/>
                <a:gd name="T16" fmla="*/ 0 w 158"/>
                <a:gd name="T17" fmla="*/ 115 h 203"/>
                <a:gd name="T18" fmla="*/ 8 w 158"/>
                <a:gd name="T19" fmla="*/ 165 h 203"/>
                <a:gd name="T20" fmla="*/ 34 w 158"/>
                <a:gd name="T21" fmla="*/ 193 h 203"/>
                <a:gd name="T22" fmla="*/ 80 w 158"/>
                <a:gd name="T23" fmla="*/ 203 h 203"/>
                <a:gd name="T24" fmla="*/ 126 w 158"/>
                <a:gd name="T25" fmla="*/ 192 h 203"/>
                <a:gd name="T26" fmla="*/ 151 w 158"/>
                <a:gd name="T27" fmla="*/ 163 h 203"/>
                <a:gd name="T28" fmla="*/ 158 w 158"/>
                <a:gd name="T29" fmla="*/ 115 h 203"/>
                <a:gd name="T30" fmla="*/ 158 w 158"/>
                <a:gd name="T31" fmla="*/ 0 h 203"/>
                <a:gd name="T32" fmla="*/ 131 w 158"/>
                <a:gd name="T33" fmla="*/ 0 h 203"/>
                <a:gd name="T34" fmla="*/ 131 w 158"/>
                <a:gd name="T35" fmla="*/ 11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8" h="203">
                  <a:moveTo>
                    <a:pt x="131" y="115"/>
                  </a:moveTo>
                  <a:cubicBezTo>
                    <a:pt x="131" y="140"/>
                    <a:pt x="127" y="157"/>
                    <a:pt x="119" y="166"/>
                  </a:cubicBezTo>
                  <a:cubicBezTo>
                    <a:pt x="111" y="175"/>
                    <a:pt x="97" y="179"/>
                    <a:pt x="77" y="179"/>
                  </a:cubicBezTo>
                  <a:cubicBezTo>
                    <a:pt x="66" y="179"/>
                    <a:pt x="56" y="177"/>
                    <a:pt x="48" y="173"/>
                  </a:cubicBezTo>
                  <a:cubicBezTo>
                    <a:pt x="41" y="168"/>
                    <a:pt x="35" y="162"/>
                    <a:pt x="32" y="153"/>
                  </a:cubicBezTo>
                  <a:cubicBezTo>
                    <a:pt x="28" y="145"/>
                    <a:pt x="27" y="132"/>
                    <a:pt x="27" y="115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36"/>
                    <a:pt x="3" y="153"/>
                    <a:pt x="8" y="165"/>
                  </a:cubicBezTo>
                  <a:cubicBezTo>
                    <a:pt x="13" y="178"/>
                    <a:pt x="22" y="187"/>
                    <a:pt x="34" y="193"/>
                  </a:cubicBezTo>
                  <a:cubicBezTo>
                    <a:pt x="45" y="200"/>
                    <a:pt x="61" y="203"/>
                    <a:pt x="80" y="203"/>
                  </a:cubicBezTo>
                  <a:cubicBezTo>
                    <a:pt x="99" y="203"/>
                    <a:pt x="114" y="199"/>
                    <a:pt x="126" y="192"/>
                  </a:cubicBezTo>
                  <a:cubicBezTo>
                    <a:pt x="138" y="185"/>
                    <a:pt x="146" y="175"/>
                    <a:pt x="151" y="163"/>
                  </a:cubicBezTo>
                  <a:cubicBezTo>
                    <a:pt x="156" y="151"/>
                    <a:pt x="158" y="135"/>
                    <a:pt x="158" y="115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31" y="0"/>
                    <a:pt x="131" y="0"/>
                    <a:pt x="131" y="0"/>
                  </a:cubicBezTo>
                  <a:lnTo>
                    <a:pt x="131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2" name="Freeform 112"/>
            <p:cNvSpPr>
              <a:spLocks/>
            </p:cNvSpPr>
            <p:nvPr userDrawn="1"/>
          </p:nvSpPr>
          <p:spPr bwMode="black">
            <a:xfrm>
              <a:off x="4764" y="2909"/>
              <a:ext cx="263" cy="480"/>
            </a:xfrm>
            <a:custGeom>
              <a:avLst/>
              <a:gdLst>
                <a:gd name="T0" fmla="*/ 14 w 111"/>
                <a:gd name="T1" fmla="*/ 188 h 203"/>
                <a:gd name="T2" fmla="*/ 54 w 111"/>
                <a:gd name="T3" fmla="*/ 203 h 203"/>
                <a:gd name="T4" fmla="*/ 85 w 111"/>
                <a:gd name="T5" fmla="*/ 196 h 203"/>
                <a:gd name="T6" fmla="*/ 105 w 111"/>
                <a:gd name="T7" fmla="*/ 175 h 203"/>
                <a:gd name="T8" fmla="*/ 111 w 111"/>
                <a:gd name="T9" fmla="*/ 136 h 203"/>
                <a:gd name="T10" fmla="*/ 111 w 111"/>
                <a:gd name="T11" fmla="*/ 0 h 203"/>
                <a:gd name="T12" fmla="*/ 84 w 111"/>
                <a:gd name="T13" fmla="*/ 0 h 203"/>
                <a:gd name="T14" fmla="*/ 84 w 111"/>
                <a:gd name="T15" fmla="*/ 137 h 203"/>
                <a:gd name="T16" fmla="*/ 81 w 111"/>
                <a:gd name="T17" fmla="*/ 163 h 203"/>
                <a:gd name="T18" fmla="*/ 72 w 111"/>
                <a:gd name="T19" fmla="*/ 175 h 203"/>
                <a:gd name="T20" fmla="*/ 54 w 111"/>
                <a:gd name="T21" fmla="*/ 180 h 203"/>
                <a:gd name="T22" fmla="*/ 33 w 111"/>
                <a:gd name="T23" fmla="*/ 171 h 203"/>
                <a:gd name="T24" fmla="*/ 25 w 111"/>
                <a:gd name="T25" fmla="*/ 140 h 203"/>
                <a:gd name="T26" fmla="*/ 1 w 111"/>
                <a:gd name="T27" fmla="*/ 143 h 203"/>
                <a:gd name="T28" fmla="*/ 14 w 111"/>
                <a:gd name="T29" fmla="*/ 18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203">
                  <a:moveTo>
                    <a:pt x="14" y="188"/>
                  </a:moveTo>
                  <a:cubicBezTo>
                    <a:pt x="23" y="198"/>
                    <a:pt x="37" y="203"/>
                    <a:pt x="54" y="203"/>
                  </a:cubicBezTo>
                  <a:cubicBezTo>
                    <a:pt x="66" y="203"/>
                    <a:pt x="77" y="201"/>
                    <a:pt x="85" y="196"/>
                  </a:cubicBezTo>
                  <a:cubicBezTo>
                    <a:pt x="94" y="191"/>
                    <a:pt x="101" y="184"/>
                    <a:pt x="105" y="175"/>
                  </a:cubicBezTo>
                  <a:cubicBezTo>
                    <a:pt x="109" y="166"/>
                    <a:pt x="111" y="153"/>
                    <a:pt x="111" y="136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7"/>
                    <a:pt x="84" y="137"/>
                    <a:pt x="84" y="137"/>
                  </a:cubicBezTo>
                  <a:cubicBezTo>
                    <a:pt x="84" y="149"/>
                    <a:pt x="83" y="157"/>
                    <a:pt x="81" y="163"/>
                  </a:cubicBezTo>
                  <a:cubicBezTo>
                    <a:pt x="80" y="168"/>
                    <a:pt x="76" y="172"/>
                    <a:pt x="72" y="175"/>
                  </a:cubicBezTo>
                  <a:cubicBezTo>
                    <a:pt x="67" y="178"/>
                    <a:pt x="61" y="180"/>
                    <a:pt x="54" y="180"/>
                  </a:cubicBezTo>
                  <a:cubicBezTo>
                    <a:pt x="45" y="180"/>
                    <a:pt x="38" y="177"/>
                    <a:pt x="33" y="171"/>
                  </a:cubicBezTo>
                  <a:cubicBezTo>
                    <a:pt x="28" y="165"/>
                    <a:pt x="25" y="155"/>
                    <a:pt x="25" y="140"/>
                  </a:cubicBezTo>
                  <a:cubicBezTo>
                    <a:pt x="1" y="143"/>
                    <a:pt x="1" y="143"/>
                    <a:pt x="1" y="143"/>
                  </a:cubicBezTo>
                  <a:cubicBezTo>
                    <a:pt x="0" y="163"/>
                    <a:pt x="5" y="178"/>
                    <a:pt x="14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3" name="Freeform 113"/>
            <p:cNvSpPr>
              <a:spLocks noEditPoints="1"/>
            </p:cNvSpPr>
            <p:nvPr userDrawn="1"/>
          </p:nvSpPr>
          <p:spPr bwMode="black">
            <a:xfrm>
              <a:off x="5124" y="2909"/>
              <a:ext cx="352" cy="611"/>
            </a:xfrm>
            <a:custGeom>
              <a:avLst/>
              <a:gdLst>
                <a:gd name="T0" fmla="*/ 149 w 149"/>
                <a:gd name="T1" fmla="*/ 200 h 258"/>
                <a:gd name="T2" fmla="*/ 149 w 149"/>
                <a:gd name="T3" fmla="*/ 176 h 258"/>
                <a:gd name="T4" fmla="*/ 26 w 149"/>
                <a:gd name="T5" fmla="*/ 176 h 258"/>
                <a:gd name="T6" fmla="*/ 26 w 149"/>
                <a:gd name="T7" fmla="*/ 108 h 258"/>
                <a:gd name="T8" fmla="*/ 137 w 149"/>
                <a:gd name="T9" fmla="*/ 108 h 258"/>
                <a:gd name="T10" fmla="*/ 137 w 149"/>
                <a:gd name="T11" fmla="*/ 84 h 258"/>
                <a:gd name="T12" fmla="*/ 26 w 149"/>
                <a:gd name="T13" fmla="*/ 84 h 258"/>
                <a:gd name="T14" fmla="*/ 26 w 149"/>
                <a:gd name="T15" fmla="*/ 23 h 258"/>
                <a:gd name="T16" fmla="*/ 144 w 149"/>
                <a:gd name="T17" fmla="*/ 23 h 258"/>
                <a:gd name="T18" fmla="*/ 144 w 149"/>
                <a:gd name="T19" fmla="*/ 0 h 258"/>
                <a:gd name="T20" fmla="*/ 0 w 149"/>
                <a:gd name="T21" fmla="*/ 0 h 258"/>
                <a:gd name="T22" fmla="*/ 0 w 149"/>
                <a:gd name="T23" fmla="*/ 200 h 258"/>
                <a:gd name="T24" fmla="*/ 149 w 149"/>
                <a:gd name="T25" fmla="*/ 200 h 258"/>
                <a:gd name="T26" fmla="*/ 122 w 149"/>
                <a:gd name="T27" fmla="*/ 200 h 258"/>
                <a:gd name="T28" fmla="*/ 108 w 149"/>
                <a:gd name="T29" fmla="*/ 216 h 258"/>
                <a:gd name="T30" fmla="*/ 103 w 149"/>
                <a:gd name="T31" fmla="*/ 233 h 258"/>
                <a:gd name="T32" fmla="*/ 105 w 149"/>
                <a:gd name="T33" fmla="*/ 243 h 258"/>
                <a:gd name="T34" fmla="*/ 110 w 149"/>
                <a:gd name="T35" fmla="*/ 251 h 258"/>
                <a:gd name="T36" fmla="*/ 118 w 149"/>
                <a:gd name="T37" fmla="*/ 256 h 258"/>
                <a:gd name="T38" fmla="*/ 131 w 149"/>
                <a:gd name="T39" fmla="*/ 258 h 258"/>
                <a:gd name="T40" fmla="*/ 149 w 149"/>
                <a:gd name="T41" fmla="*/ 254 h 258"/>
                <a:gd name="T42" fmla="*/ 149 w 149"/>
                <a:gd name="T43" fmla="*/ 236 h 258"/>
                <a:gd name="T44" fmla="*/ 143 w 149"/>
                <a:gd name="T45" fmla="*/ 239 h 258"/>
                <a:gd name="T46" fmla="*/ 137 w 149"/>
                <a:gd name="T47" fmla="*/ 239 h 258"/>
                <a:gd name="T48" fmla="*/ 126 w 149"/>
                <a:gd name="T49" fmla="*/ 235 h 258"/>
                <a:gd name="T50" fmla="*/ 123 w 149"/>
                <a:gd name="T51" fmla="*/ 226 h 258"/>
                <a:gd name="T52" fmla="*/ 128 w 149"/>
                <a:gd name="T53" fmla="*/ 212 h 258"/>
                <a:gd name="T54" fmla="*/ 140 w 149"/>
                <a:gd name="T55" fmla="*/ 200 h 258"/>
                <a:gd name="T56" fmla="*/ 122 w 149"/>
                <a:gd name="T57" fmla="*/ 20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9" h="258">
                  <a:moveTo>
                    <a:pt x="149" y="200"/>
                  </a:moveTo>
                  <a:cubicBezTo>
                    <a:pt x="149" y="176"/>
                    <a:pt x="149" y="176"/>
                    <a:pt x="149" y="176"/>
                  </a:cubicBezTo>
                  <a:cubicBezTo>
                    <a:pt x="26" y="176"/>
                    <a:pt x="26" y="176"/>
                    <a:pt x="26" y="176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7" y="84"/>
                    <a:pt x="137" y="84"/>
                    <a:pt x="137" y="84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lnTo>
                    <a:pt x="149" y="200"/>
                  </a:lnTo>
                  <a:close/>
                  <a:moveTo>
                    <a:pt x="122" y="200"/>
                  </a:moveTo>
                  <a:cubicBezTo>
                    <a:pt x="116" y="205"/>
                    <a:pt x="111" y="210"/>
                    <a:pt x="108" y="216"/>
                  </a:cubicBezTo>
                  <a:cubicBezTo>
                    <a:pt x="104" y="222"/>
                    <a:pt x="103" y="227"/>
                    <a:pt x="103" y="233"/>
                  </a:cubicBezTo>
                  <a:cubicBezTo>
                    <a:pt x="103" y="237"/>
                    <a:pt x="103" y="240"/>
                    <a:pt x="105" y="243"/>
                  </a:cubicBezTo>
                  <a:cubicBezTo>
                    <a:pt x="106" y="246"/>
                    <a:pt x="107" y="249"/>
                    <a:pt x="110" y="251"/>
                  </a:cubicBezTo>
                  <a:cubicBezTo>
                    <a:pt x="112" y="253"/>
                    <a:pt x="115" y="255"/>
                    <a:pt x="118" y="256"/>
                  </a:cubicBezTo>
                  <a:cubicBezTo>
                    <a:pt x="122" y="258"/>
                    <a:pt x="126" y="258"/>
                    <a:pt x="131" y="258"/>
                  </a:cubicBezTo>
                  <a:cubicBezTo>
                    <a:pt x="136" y="258"/>
                    <a:pt x="142" y="257"/>
                    <a:pt x="149" y="254"/>
                  </a:cubicBezTo>
                  <a:cubicBezTo>
                    <a:pt x="149" y="236"/>
                    <a:pt x="149" y="236"/>
                    <a:pt x="149" y="236"/>
                  </a:cubicBezTo>
                  <a:cubicBezTo>
                    <a:pt x="147" y="237"/>
                    <a:pt x="145" y="238"/>
                    <a:pt x="143" y="239"/>
                  </a:cubicBezTo>
                  <a:cubicBezTo>
                    <a:pt x="141" y="239"/>
                    <a:pt x="139" y="239"/>
                    <a:pt x="137" y="239"/>
                  </a:cubicBezTo>
                  <a:cubicBezTo>
                    <a:pt x="132" y="239"/>
                    <a:pt x="129" y="238"/>
                    <a:pt x="126" y="235"/>
                  </a:cubicBezTo>
                  <a:cubicBezTo>
                    <a:pt x="124" y="233"/>
                    <a:pt x="123" y="230"/>
                    <a:pt x="123" y="226"/>
                  </a:cubicBezTo>
                  <a:cubicBezTo>
                    <a:pt x="123" y="221"/>
                    <a:pt x="125" y="216"/>
                    <a:pt x="128" y="212"/>
                  </a:cubicBezTo>
                  <a:cubicBezTo>
                    <a:pt x="130" y="207"/>
                    <a:pt x="135" y="203"/>
                    <a:pt x="140" y="200"/>
                  </a:cubicBezTo>
                  <a:lnTo>
                    <a:pt x="122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0" name="TextBox 129"/>
          <p:cNvSpPr txBox="1"/>
          <p:nvPr userDrawn="1"/>
        </p:nvSpPr>
        <p:spPr>
          <a:xfrm>
            <a:off x="435264" y="4857379"/>
            <a:ext cx="3097080" cy="300083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lvl="0" algn="l" defTabSz="685800" rtl="0" eaLnBrk="1" latinLnBrk="0" hangingPunct="1"/>
            <a:r>
              <a:rPr lang="en-US" sz="8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2015 Lenovo Restricted. All rights reserved.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447030" y="3621894"/>
            <a:ext cx="4784665" cy="274320"/>
            <a:chOff x="596040" y="5442941"/>
            <a:chExt cx="6379553" cy="365760"/>
          </a:xfrm>
        </p:grpSpPr>
        <p:pic>
          <p:nvPicPr>
            <p:cNvPr id="166" name="Picture 2" descr="C:\Users\kathyp\Documents\00_Brand-Resources\Multimode Elements\Multimode Icons\PNG\Multimode-Icon_HANG.png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40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7" name="Picture 3" descr="C:\Users\kathyp\Documents\00_Brand-Resources\Multimode Elements\Multimode Icons\PNG\Multimode-Icon_HOLD.png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9824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8" name="Picture 4" descr="C:\Users\kathyp\Documents\00_Brand-Resources\Multimode Elements\Multimode Icons\PNG\Multimode-Icon_LAPTOP.png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7211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9" name="Picture 5" descr="C:\Users\kathyp\Documents\00_Brand-Resources\Multimode Elements\Multimode Icons\PNG\Multimode-Icon_STAND.png"/>
            <p:cNvPicPr>
              <a:picLocks noChangeAspect="1" noChangeArrowheads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7392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0" name="Picture 6" descr="C:\Users\kathyp\Documents\00_Brand-Resources\Multimode Elements\Multimode Icons\PNG\Multimode-Icon_STAND-Tablet.pn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1176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1" name="Picture 7" descr="C:\Users\kathyp\Documents\00_Brand-Resources\Multimode Elements\Multimode Icons\PNG\Multimode-Icon_TABLE.png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8563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2" name="Picture 8" descr="C:\Users\kathyp\Documents\00_Brand-Resources\Multimode Elements\Multimode Icons\PNG\Multimode-Icon_TABLET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5950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3" name="Picture 9" descr="C:\Users\kathyp\Documents\00_Brand-Resources\Multimode Elements\Multimode Icons\PNG\Multimode-Icon_TENT.png"/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2528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4" name="Picture 10" descr="C:\Users\kathyp\Documents\00_Brand-Resources\Multimode Elements\Multimode Icons\PNG\Multimode-Icon_TILT.png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6312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5" name="Picture 11" descr="C:\Users\kathyp\Documents\00_Brand-Resources\Multimode Elements\Multimode Icons\PNG\Multimode-Icon_TV.png"/>
            <p:cNvPicPr>
              <a:picLocks noChangeAspect="1" noChangeArrowheads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3707" y="5468108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Group 175"/>
            <p:cNvGrpSpPr/>
            <p:nvPr userDrawn="1"/>
          </p:nvGrpSpPr>
          <p:grpSpPr>
            <a:xfrm>
              <a:off x="2024598" y="5468108"/>
              <a:ext cx="310896" cy="310896"/>
              <a:chOff x="2024598" y="5468108"/>
              <a:chExt cx="310896" cy="310896"/>
            </a:xfrm>
          </p:grpSpPr>
          <p:sp>
            <p:nvSpPr>
              <p:cNvPr id="177" name="Oval 176"/>
              <p:cNvSpPr/>
              <p:nvPr userDrawn="1"/>
            </p:nvSpPr>
            <p:spPr>
              <a:xfrm>
                <a:off x="2024598" y="5468108"/>
                <a:ext cx="310896" cy="31089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dirty="0"/>
              </a:p>
            </p:txBody>
          </p:sp>
          <p:pic>
            <p:nvPicPr>
              <p:cNvPr id="178" name="Picture 177"/>
              <p:cNvPicPr>
                <a:picLocks noChangeAspect="1"/>
              </p:cNvPicPr>
              <p:nvPr userDrawn="1"/>
            </p:nvPicPr>
            <p:blipFill>
              <a:blip r:embed="rId13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18814" y="5509256"/>
                <a:ext cx="122464" cy="228600"/>
              </a:xfrm>
              <a:prstGeom prst="rect">
                <a:avLst/>
              </a:prstGeom>
            </p:spPr>
          </p:pic>
        </p:grpSp>
        <p:grpSp>
          <p:nvGrpSpPr>
            <p:cNvPr id="5" name="Group 178"/>
            <p:cNvGrpSpPr/>
            <p:nvPr userDrawn="1"/>
          </p:nvGrpSpPr>
          <p:grpSpPr>
            <a:xfrm>
              <a:off x="3094779" y="5468108"/>
              <a:ext cx="310896" cy="310896"/>
              <a:chOff x="3094779" y="5468108"/>
              <a:chExt cx="310896" cy="310896"/>
            </a:xfrm>
          </p:grpSpPr>
          <p:sp>
            <p:nvSpPr>
              <p:cNvPr id="180" name="Oval 179"/>
              <p:cNvSpPr/>
              <p:nvPr userDrawn="1"/>
            </p:nvSpPr>
            <p:spPr>
              <a:xfrm>
                <a:off x="3094779" y="5468108"/>
                <a:ext cx="310896" cy="310896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dirty="0"/>
              </a:p>
            </p:txBody>
          </p:sp>
          <p:pic>
            <p:nvPicPr>
              <p:cNvPr id="181" name="Picture 9" descr="C:\Users\yhwang\Desktop\WW Design\Multimode Icons\twitter-01.png"/>
              <p:cNvPicPr>
                <a:picLocks noChangeAspect="1" noChangeArrowheads="1"/>
              </p:cNvPicPr>
              <p:nvPr userDrawn="1"/>
            </p:nvPicPr>
            <p:blipFill>
              <a:blip r:embed="rId14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4779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6" name="Group 181"/>
            <p:cNvGrpSpPr/>
            <p:nvPr userDrawn="1"/>
          </p:nvGrpSpPr>
          <p:grpSpPr>
            <a:xfrm>
              <a:off x="953427" y="5468108"/>
              <a:ext cx="310896" cy="310896"/>
              <a:chOff x="953427" y="5468108"/>
              <a:chExt cx="310896" cy="310896"/>
            </a:xfrm>
          </p:grpSpPr>
          <p:sp>
            <p:nvSpPr>
              <p:cNvPr id="254" name="Oval 253"/>
              <p:cNvSpPr/>
              <p:nvPr userDrawn="1"/>
            </p:nvSpPr>
            <p:spPr>
              <a:xfrm>
                <a:off x="953427" y="5468108"/>
                <a:ext cx="310896" cy="31089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dirty="0"/>
              </a:p>
            </p:txBody>
          </p:sp>
          <p:pic>
            <p:nvPicPr>
              <p:cNvPr id="255" name="Picture 5" descr="C:\Users\yhwang\Desktop\WW Design\Multimode Icons\globe-01.png"/>
              <p:cNvPicPr>
                <a:picLocks noChangeAspect="1" noChangeArrowheads="1"/>
              </p:cNvPicPr>
              <p:nvPr userDrawn="1"/>
            </p:nvPicPr>
            <p:blipFill>
              <a:blip r:embed="rId15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0859" y="5495540"/>
                <a:ext cx="256032" cy="256032"/>
              </a:xfrm>
              <a:prstGeom prst="rect">
                <a:avLst/>
              </a:prstGeom>
              <a:noFill/>
            </p:spPr>
          </p:pic>
        </p:grpSp>
        <p:grpSp>
          <p:nvGrpSpPr>
            <p:cNvPr id="7" name="Group 255"/>
            <p:cNvGrpSpPr/>
            <p:nvPr userDrawn="1"/>
          </p:nvGrpSpPr>
          <p:grpSpPr>
            <a:xfrm>
              <a:off x="2355828" y="5442941"/>
              <a:ext cx="365760" cy="365760"/>
              <a:chOff x="2355828" y="5442941"/>
              <a:chExt cx="365760" cy="365760"/>
            </a:xfrm>
          </p:grpSpPr>
          <p:sp>
            <p:nvSpPr>
              <p:cNvPr id="257" name="Oval 256"/>
              <p:cNvSpPr/>
              <p:nvPr userDrawn="1"/>
            </p:nvSpPr>
            <p:spPr>
              <a:xfrm>
                <a:off x="2380995" y="5468108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dirty="0"/>
              </a:p>
            </p:txBody>
          </p:sp>
          <p:pic>
            <p:nvPicPr>
              <p:cNvPr id="258" name="Picture 2" descr="C:\Users\yhwang\Desktop\WW Design\Multimode Icons\chain-01.png"/>
              <p:cNvPicPr>
                <a:picLocks noChangeAspect="1" noChangeArrowheads="1"/>
              </p:cNvPicPr>
              <p:nvPr userDrawn="1"/>
            </p:nvPicPr>
            <p:blipFill>
              <a:blip r:embed="rId16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55828" y="5442941"/>
                <a:ext cx="365760" cy="365760"/>
              </a:xfrm>
              <a:prstGeom prst="rect">
                <a:avLst/>
              </a:prstGeom>
              <a:noFill/>
            </p:spPr>
          </p:pic>
        </p:grpSp>
        <p:grpSp>
          <p:nvGrpSpPr>
            <p:cNvPr id="8" name="Group 258"/>
            <p:cNvGrpSpPr/>
            <p:nvPr userDrawn="1"/>
          </p:nvGrpSpPr>
          <p:grpSpPr>
            <a:xfrm>
              <a:off x="5236131" y="5468108"/>
              <a:ext cx="310896" cy="310896"/>
              <a:chOff x="5236131" y="5468108"/>
              <a:chExt cx="310896" cy="310896"/>
            </a:xfrm>
          </p:grpSpPr>
          <p:sp>
            <p:nvSpPr>
              <p:cNvPr id="260" name="Oval 259"/>
              <p:cNvSpPr/>
              <p:nvPr userDrawn="1"/>
            </p:nvSpPr>
            <p:spPr>
              <a:xfrm>
                <a:off x="5236131" y="5468108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dirty="0"/>
              </a:p>
            </p:txBody>
          </p:sp>
          <p:pic>
            <p:nvPicPr>
              <p:cNvPr id="261" name="Picture 260" descr="C:\Users\yhwang\Desktop\WW Design\Multimode Icons\facebook-01.png"/>
              <p:cNvPicPr>
                <a:picLocks noChangeAspect="1" noChangeArrowheads="1"/>
              </p:cNvPicPr>
              <p:nvPr userDrawn="1"/>
            </p:nvPicPr>
            <p:blipFill>
              <a:blip r:embed="rId17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36131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9" name="Group 261"/>
            <p:cNvGrpSpPr/>
            <p:nvPr userDrawn="1"/>
          </p:nvGrpSpPr>
          <p:grpSpPr>
            <a:xfrm>
              <a:off x="4523337" y="5468108"/>
              <a:ext cx="310896" cy="310896"/>
              <a:chOff x="4523337" y="5468108"/>
              <a:chExt cx="310896" cy="310896"/>
            </a:xfrm>
          </p:grpSpPr>
          <p:sp>
            <p:nvSpPr>
              <p:cNvPr id="263" name="Oval 262"/>
              <p:cNvSpPr/>
              <p:nvPr userDrawn="1"/>
            </p:nvSpPr>
            <p:spPr>
              <a:xfrm>
                <a:off x="4523337" y="5468108"/>
                <a:ext cx="310896" cy="31089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dirty="0"/>
              </a:p>
            </p:txBody>
          </p:sp>
          <p:pic>
            <p:nvPicPr>
              <p:cNvPr id="264" name="Picture 7" descr="C:\Users\yhwang\Desktop\WW Design\Multimode Icons\server-01.png"/>
              <p:cNvPicPr>
                <a:picLocks noChangeAspect="1" noChangeArrowheads="1"/>
              </p:cNvPicPr>
              <p:nvPr userDrawn="1"/>
            </p:nvPicPr>
            <p:blipFill>
              <a:blip r:embed="rId18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23337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10" name="Group 264"/>
            <p:cNvGrpSpPr/>
            <p:nvPr userDrawn="1"/>
          </p:nvGrpSpPr>
          <p:grpSpPr>
            <a:xfrm>
              <a:off x="4879734" y="5468108"/>
              <a:ext cx="310896" cy="310896"/>
              <a:chOff x="4879734" y="5468108"/>
              <a:chExt cx="310896" cy="310896"/>
            </a:xfrm>
          </p:grpSpPr>
          <p:sp>
            <p:nvSpPr>
              <p:cNvPr id="266" name="Oval 265"/>
              <p:cNvSpPr/>
              <p:nvPr userDrawn="1"/>
            </p:nvSpPr>
            <p:spPr>
              <a:xfrm>
                <a:off x="4879734" y="5468108"/>
                <a:ext cx="310896" cy="31089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dirty="0"/>
              </a:p>
            </p:txBody>
          </p:sp>
          <p:pic>
            <p:nvPicPr>
              <p:cNvPr id="267" name="Picture 6" descr="C:\Users\yhwang\Desktop\WW Design\Multimode Icons\network-01.png"/>
              <p:cNvPicPr>
                <a:picLocks noChangeAspect="1" noChangeArrowheads="1"/>
              </p:cNvPicPr>
              <p:nvPr userDrawn="1"/>
            </p:nvPicPr>
            <p:blipFill>
              <a:blip r:embed="rId19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79734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11" name="Group 267"/>
            <p:cNvGrpSpPr/>
            <p:nvPr userDrawn="1"/>
          </p:nvGrpSpPr>
          <p:grpSpPr>
            <a:xfrm>
              <a:off x="5949915" y="5468108"/>
              <a:ext cx="310896" cy="310896"/>
              <a:chOff x="5949915" y="5468108"/>
              <a:chExt cx="310896" cy="310896"/>
            </a:xfrm>
          </p:grpSpPr>
          <p:sp>
            <p:nvSpPr>
              <p:cNvPr id="269" name="Oval 268"/>
              <p:cNvSpPr/>
              <p:nvPr userDrawn="1"/>
            </p:nvSpPr>
            <p:spPr>
              <a:xfrm>
                <a:off x="5949915" y="5468108"/>
                <a:ext cx="310896" cy="31089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dirty="0"/>
              </a:p>
            </p:txBody>
          </p:sp>
          <p:pic>
            <p:nvPicPr>
              <p:cNvPr id="270" name="Picture 8" descr="C:\Users\yhwang\Desktop\WW Design\Multimode Icons\think_light-01.png"/>
              <p:cNvPicPr>
                <a:picLocks noChangeAspect="1" noChangeArrowheads="1"/>
              </p:cNvPicPr>
              <p:nvPr userDrawn="1"/>
            </p:nvPicPr>
            <p:blipFill>
              <a:blip r:embed="rId20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49915" y="5468108"/>
                <a:ext cx="310896" cy="310896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71" name="TextBox 270"/>
          <p:cNvSpPr txBox="1"/>
          <p:nvPr userDrawn="1"/>
        </p:nvSpPr>
        <p:spPr>
          <a:xfrm>
            <a:off x="3265321" y="2144613"/>
            <a:ext cx="2097613" cy="469359"/>
          </a:xfrm>
          <a:prstGeom prst="rect">
            <a:avLst/>
          </a:prstGeom>
          <a:noFill/>
        </p:spPr>
        <p:txBody>
          <a:bodyPr wrap="square" lIns="68580" tIns="34290" rIns="68580" bIns="34290" rtlCol="0" anchor="ctr">
            <a:spAutoFit/>
          </a:bodyPr>
          <a:lstStyle/>
          <a:p>
            <a:pPr algn="ctr"/>
            <a:r>
              <a:rPr lang="en-US" sz="2600" dirty="0">
                <a:solidFill>
                  <a:srgbClr val="4AC0E0"/>
                </a:solidFill>
              </a:rPr>
              <a:t>THANK YOU</a:t>
            </a:r>
          </a:p>
        </p:txBody>
      </p:sp>
      <p:pic>
        <p:nvPicPr>
          <p:cNvPr id="133" name="Picture 2" descr="D:\MVNO Business\1. Marketing\Branding\品牌及LOGO\lenovo1011\logo组合\Logo_red-1.jpg"/>
          <p:cNvPicPr>
            <a:picLocks noChangeAspect="1" noChangeArrowheads="1"/>
          </p:cNvPicPr>
          <p:nvPr userDrawn="1"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13474" y="2908860"/>
            <a:ext cx="2509191" cy="5777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99279898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 bwMode="auto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4432" y="1532476"/>
            <a:ext cx="6542825" cy="1185722"/>
          </a:xfrm>
          <a:prstGeom prst="rect">
            <a:avLst/>
          </a:prstGeom>
        </p:spPr>
        <p:txBody>
          <a:bodyPr lIns="68580" tIns="34290" rIns="68580" bIns="34290" anchor="b"/>
          <a:lstStyle>
            <a:lvl1pPr marL="0" indent="-342900" algn="l">
              <a:defRPr sz="4500" baseline="0"/>
            </a:lvl1pPr>
          </a:lstStyle>
          <a:p>
            <a:r>
              <a:rPr lang="en-US" dirty="0"/>
              <a:t>Click to edit text, two lines maximum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2171" y="3044750"/>
            <a:ext cx="6531917" cy="342408"/>
          </a:xfrm>
          <a:prstGeom prst="rect">
            <a:avLst/>
          </a:prstGeom>
        </p:spPr>
        <p:txBody>
          <a:bodyPr wrap="square" lIns="68580" tIns="34290" rIns="68580" bIns="34290" anchor="b">
            <a:no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 placeholder</a:t>
            </a:r>
          </a:p>
        </p:txBody>
      </p:sp>
      <p:sp>
        <p:nvSpPr>
          <p:cNvPr id="114" name="Text Placeholder 113"/>
          <p:cNvSpPr>
            <a:spLocks noGrp="1"/>
          </p:cNvSpPr>
          <p:nvPr>
            <p:ph type="body" sz="quarter" idx="10"/>
          </p:nvPr>
        </p:nvSpPr>
        <p:spPr>
          <a:xfrm>
            <a:off x="425746" y="3599260"/>
            <a:ext cx="4805949" cy="385763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255985" indent="0">
              <a:buNone/>
              <a:defRPr sz="1100"/>
            </a:lvl2pPr>
            <a:lvl3pPr marL="509588" indent="0">
              <a:buNone/>
              <a:defRPr sz="900"/>
            </a:lvl3pPr>
            <a:lvl4pPr marL="725090" indent="0">
              <a:buNone/>
              <a:defRPr sz="800"/>
            </a:lvl4pPr>
            <a:lvl5pPr marL="859631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Rectangle 48"/>
          <p:cNvSpPr/>
          <p:nvPr userDrawn="1"/>
        </p:nvSpPr>
        <p:spPr bwMode="black">
          <a:xfrm>
            <a:off x="447031" y="3418285"/>
            <a:ext cx="823262" cy="800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pic>
        <p:nvPicPr>
          <p:cNvPr id="1026" name="Picture 2" descr="C:\Users\kathyp\Documents\00_Brand-Resources\Multimode Elements\Multimode Icons\PNG\Multimode-Icon_HAN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7030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82368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50408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53044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88382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kathyp\Documents\00_Brand-Resources\Multimode Elements\Multimode Icons\PNG\Multimode-Icon_TABLE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56422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24462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94396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:\Users\kathyp\Documents\00_Brand-Resources\Multimode Elements\Multimode Icons\PNG\Multimode-Icon_TILT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29734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C:\Users\kathyp\Documents\00_Brand-Resources\Multimode Elements\Multimode Icons\PNG\Multimode-Icon_TV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97780" y="4101081"/>
            <a:ext cx="233915" cy="23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14"/>
          <p:cNvGrpSpPr/>
          <p:nvPr userDrawn="1"/>
        </p:nvGrpSpPr>
        <p:grpSpPr>
          <a:xfrm>
            <a:off x="1518449" y="4101081"/>
            <a:ext cx="233172" cy="233172"/>
            <a:chOff x="2024598" y="5468108"/>
            <a:chExt cx="310896" cy="310896"/>
          </a:xfrm>
        </p:grpSpPr>
        <p:sp>
          <p:nvSpPr>
            <p:cNvPr id="51" name="Oval 50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dirty="0"/>
            </a:p>
          </p:txBody>
        </p:sp>
        <p:pic>
          <p:nvPicPr>
            <p:cNvPr id="52" name="Picture 51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" name="Group 12"/>
          <p:cNvGrpSpPr/>
          <p:nvPr userDrawn="1"/>
        </p:nvGrpSpPr>
        <p:grpSpPr>
          <a:xfrm>
            <a:off x="2321084" y="4101081"/>
            <a:ext cx="233172" cy="233172"/>
            <a:chOff x="3094779" y="5468108"/>
            <a:chExt cx="310896" cy="310896"/>
          </a:xfrm>
        </p:grpSpPr>
        <p:sp>
          <p:nvSpPr>
            <p:cNvPr id="57" name="Oval 5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dirty="0"/>
            </a:p>
          </p:txBody>
        </p:sp>
        <p:pic>
          <p:nvPicPr>
            <p:cNvPr id="71" name="Picture 9" descr="C:\Users\yhwang\Desktop\WW Design\Multimode Icons\twitter-01.png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779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7" name="Group 15"/>
          <p:cNvGrpSpPr/>
          <p:nvPr userDrawn="1"/>
        </p:nvGrpSpPr>
        <p:grpSpPr>
          <a:xfrm>
            <a:off x="715070" y="4101081"/>
            <a:ext cx="233172" cy="233172"/>
            <a:chOff x="953427" y="5468108"/>
            <a:chExt cx="310896" cy="310896"/>
          </a:xfrm>
        </p:grpSpPr>
        <p:sp>
          <p:nvSpPr>
            <p:cNvPr id="6" name="Oval 5"/>
            <p:cNvSpPr/>
            <p:nvPr userDrawn="1"/>
          </p:nvSpPr>
          <p:spPr>
            <a:xfrm>
              <a:off x="953427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dirty="0"/>
            </a:p>
          </p:txBody>
        </p:sp>
        <p:pic>
          <p:nvPicPr>
            <p:cNvPr id="72" name="Picture 5" descr="C:\Users\yhwang\Desktop\WW Design\Multimode Icons\globe-01.png"/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59" y="5495540"/>
              <a:ext cx="256032" cy="256032"/>
            </a:xfrm>
            <a:prstGeom prst="rect">
              <a:avLst/>
            </a:prstGeom>
            <a:noFill/>
          </p:spPr>
        </p:pic>
      </p:grpSp>
      <p:grpSp>
        <p:nvGrpSpPr>
          <p:cNvPr id="8" name="Group 13"/>
          <p:cNvGrpSpPr/>
          <p:nvPr userDrawn="1"/>
        </p:nvGrpSpPr>
        <p:grpSpPr>
          <a:xfrm>
            <a:off x="1766871" y="4082206"/>
            <a:ext cx="274320" cy="274320"/>
            <a:chOff x="2355828" y="5442941"/>
            <a:chExt cx="365760" cy="365760"/>
          </a:xfrm>
        </p:grpSpPr>
        <p:sp>
          <p:nvSpPr>
            <p:cNvPr id="54" name="Oval 53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dirty="0"/>
            </a:p>
          </p:txBody>
        </p:sp>
        <p:pic>
          <p:nvPicPr>
            <p:cNvPr id="73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grpSp>
        <p:nvGrpSpPr>
          <p:cNvPr id="9" name="Group 9"/>
          <p:cNvGrpSpPr/>
          <p:nvPr userDrawn="1"/>
        </p:nvGrpSpPr>
        <p:grpSpPr>
          <a:xfrm>
            <a:off x="3927098" y="4101081"/>
            <a:ext cx="233172" cy="233172"/>
            <a:chOff x="5236131" y="5468108"/>
            <a:chExt cx="310896" cy="310896"/>
          </a:xfrm>
        </p:grpSpPr>
        <p:sp>
          <p:nvSpPr>
            <p:cNvPr id="66" name="Oval 6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dirty="0"/>
            </a:p>
          </p:txBody>
        </p:sp>
        <p:pic>
          <p:nvPicPr>
            <p:cNvPr id="74" name="Picture 73" descr="C:\Users\yhwang\Desktop\WW Design\Multimode Icons\facebook-01.png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0" name="Group 11"/>
          <p:cNvGrpSpPr/>
          <p:nvPr userDrawn="1"/>
        </p:nvGrpSpPr>
        <p:grpSpPr>
          <a:xfrm>
            <a:off x="3392503" y="4101081"/>
            <a:ext cx="233172" cy="233172"/>
            <a:chOff x="4523337" y="5468108"/>
            <a:chExt cx="310896" cy="310896"/>
          </a:xfrm>
        </p:grpSpPr>
        <p:sp>
          <p:nvSpPr>
            <p:cNvPr id="60" name="Oval 59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dirty="0"/>
            </a:p>
          </p:txBody>
        </p:sp>
        <p:pic>
          <p:nvPicPr>
            <p:cNvPr id="75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1" name="Group 10"/>
          <p:cNvGrpSpPr/>
          <p:nvPr userDrawn="1"/>
        </p:nvGrpSpPr>
        <p:grpSpPr>
          <a:xfrm>
            <a:off x="3659801" y="4101081"/>
            <a:ext cx="233172" cy="233172"/>
            <a:chOff x="4879734" y="5468108"/>
            <a:chExt cx="310896" cy="310896"/>
          </a:xfrm>
        </p:grpSpPr>
        <p:sp>
          <p:nvSpPr>
            <p:cNvPr id="63" name="Oval 6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dirty="0"/>
            </a:p>
          </p:txBody>
        </p:sp>
        <p:pic>
          <p:nvPicPr>
            <p:cNvPr id="76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9734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12" name="Group 8"/>
          <p:cNvGrpSpPr/>
          <p:nvPr userDrawn="1"/>
        </p:nvGrpSpPr>
        <p:grpSpPr>
          <a:xfrm>
            <a:off x="4462436" y="4101081"/>
            <a:ext cx="233172" cy="233172"/>
            <a:chOff x="5949915" y="5468108"/>
            <a:chExt cx="310896" cy="310896"/>
          </a:xfrm>
        </p:grpSpPr>
        <p:sp>
          <p:nvSpPr>
            <p:cNvPr id="69" name="Oval 6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dirty="0"/>
            </a:p>
          </p:txBody>
        </p:sp>
        <p:pic>
          <p:nvPicPr>
            <p:cNvPr id="77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9915" y="5468108"/>
              <a:ext cx="310896" cy="310896"/>
            </a:xfrm>
            <a:prstGeom prst="rect">
              <a:avLst/>
            </a:prstGeom>
            <a:noFill/>
          </p:spPr>
        </p:pic>
      </p:grpSp>
      <p:cxnSp>
        <p:nvCxnSpPr>
          <p:cNvPr id="107" name="Straight Connector 106"/>
          <p:cNvCxnSpPr/>
          <p:nvPr userDrawn="1"/>
        </p:nvCxnSpPr>
        <p:spPr>
          <a:xfrm>
            <a:off x="447428" y="3498329"/>
            <a:ext cx="78143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6"/>
          <p:cNvGrpSpPr/>
          <p:nvPr userDrawn="1"/>
        </p:nvGrpSpPr>
        <p:grpSpPr>
          <a:xfrm>
            <a:off x="7361340" y="3498329"/>
            <a:ext cx="900408" cy="228845"/>
            <a:chOff x="9815120" y="4664439"/>
            <a:chExt cx="1200544" cy="305126"/>
          </a:xfrm>
          <a:solidFill>
            <a:schemeClr val="accent5"/>
          </a:solidFill>
        </p:grpSpPr>
        <p:sp>
          <p:nvSpPr>
            <p:cNvPr id="45" name="Rectangle 44"/>
            <p:cNvSpPr/>
            <p:nvPr userDrawn="1"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6" name="Rectangle 45"/>
            <p:cNvSpPr/>
            <p:nvPr userDrawn="1"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0 w 1200544"/>
                <a:gd name="connsiteY2" fmla="*/ 106726 h 106726"/>
                <a:gd name="connsiteX3" fmla="*/ 0 w 1200544"/>
                <a:gd name="connsiteY3" fmla="*/ 0 h 10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47" name="Picture 2" descr="D:\MVNO Business\1. Marketing\Branding\品牌及LOGO\lenovo1011\logo组合\Logo_red-1.jpg"/>
          <p:cNvPicPr>
            <a:picLocks noChangeAspect="1" noChangeArrowheads="1"/>
          </p:cNvPicPr>
          <p:nvPr userDrawn="1"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367537" y="2023111"/>
            <a:ext cx="3240000" cy="746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2629960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对角圆角矩形 5"/>
          <p:cNvSpPr/>
          <p:nvPr/>
        </p:nvSpPr>
        <p:spPr>
          <a:xfrm>
            <a:off x="8194154" y="4678008"/>
            <a:ext cx="531692" cy="216000"/>
          </a:xfrm>
          <a:prstGeom prst="round2DiagRect">
            <a:avLst>
              <a:gd name="adj1" fmla="val 50000"/>
              <a:gd name="adj2" fmla="val 0"/>
            </a:avLst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0679" tIns="30679" rIns="30679" bIns="30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11"/>
              </a:spcAft>
            </a:pPr>
            <a:r>
              <a:rPr kumimoji="1" lang="en-US" altLang="zh-CN" sz="10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</a:rPr>
              <a:t>-</a:t>
            </a:r>
            <a:fld id="{3F4AFCB0-9050-477E-8944-9EFBF09347A1}" type="slidenum">
              <a:rPr kumimoji="1" lang="en-US" altLang="zh-CN" sz="1000" b="1" i="1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</a:rPr>
              <a:pPr algn="ctr">
                <a:spcAft>
                  <a:spcPts val="511"/>
                </a:spcAft>
              </a:pPr>
              <a:t>‹#›</a:t>
            </a:fld>
            <a:r>
              <a:rPr kumimoji="1" lang="en-US" altLang="zh-CN" sz="10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</a:rPr>
              <a:t>-</a:t>
            </a:r>
            <a:endParaRPr lang="zh-CN" altLang="en-US" sz="1000" b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77962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3" r:id="rId2"/>
    <p:sldLayoutId id="2147483664" r:id="rId3"/>
    <p:sldLayoutId id="2147483665" r:id="rId4"/>
    <p:sldLayoutId id="2147483666" r:id="rId5"/>
    <p:sldLayoutId id="2147483668" r:id="rId6"/>
    <p:sldLayoutId id="2147483669" r:id="rId7"/>
  </p:sldLayoutIdLst>
  <p:hf sldNum="0" hdr="0" ftr="0" dt="0"/>
  <p:txStyles>
    <p:titleStyle>
      <a:lvl1pPr algn="just" defTabSz="615231" rtl="0" eaLnBrk="1" latinLnBrk="0" hangingPunct="1">
        <a:spcBef>
          <a:spcPct val="0"/>
        </a:spcBef>
        <a:buNone/>
        <a:defRPr sz="1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0711" indent="-230711" algn="l" defTabSz="615231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499874" indent="-192260" algn="l" defTabSz="615231" rtl="0" eaLnBrk="1" latinLnBrk="0" hangingPunct="1">
        <a:spcBef>
          <a:spcPct val="20000"/>
        </a:spcBef>
        <a:buFont typeface="Arial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769038" indent="-153808" algn="l" defTabSz="615231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652" indent="-153808" algn="l" defTabSz="615231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84268" indent="-153808" algn="l" defTabSz="615231" rtl="0" eaLnBrk="1" latinLnBrk="0" hangingPunct="1">
        <a:spcBef>
          <a:spcPct val="20000"/>
        </a:spcBef>
        <a:buFont typeface="Arial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91883" indent="-153808" algn="l" defTabSz="615231" rtl="0" eaLnBrk="1" latinLnBrk="0" hangingPunct="1">
        <a:spcBef>
          <a:spcPct val="20000"/>
        </a:spcBef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99498" indent="-153808" algn="l" defTabSz="615231" rtl="0" eaLnBrk="1" latinLnBrk="0" hangingPunct="1">
        <a:spcBef>
          <a:spcPct val="20000"/>
        </a:spcBef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07113" indent="-153808" algn="l" defTabSz="615231" rtl="0" eaLnBrk="1" latinLnBrk="0" hangingPunct="1">
        <a:spcBef>
          <a:spcPct val="20000"/>
        </a:spcBef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14728" indent="-153808" algn="l" defTabSz="615231" rtl="0" eaLnBrk="1" latinLnBrk="0" hangingPunct="1">
        <a:spcBef>
          <a:spcPct val="20000"/>
        </a:spcBef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1523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7614" algn="l" defTabSz="61523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15231" algn="l" defTabSz="61523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22846" algn="l" defTabSz="61523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30459" algn="l" defTabSz="61523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38075" algn="l" defTabSz="61523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45690" algn="l" defTabSz="61523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53306" algn="l" defTabSz="61523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60921" algn="l" defTabSz="61523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5746" y="1094956"/>
            <a:ext cx="6542825" cy="1483857"/>
          </a:xfrm>
        </p:spPr>
        <p:txBody>
          <a:bodyPr/>
          <a:lstStyle/>
          <a:p>
            <a:r>
              <a:rPr lang="zh-CN" altLang="en-US" sz="2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联想</a:t>
            </a:r>
            <a:r>
              <a:rPr lang="en-US" altLang="zh-CN" sz="2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1100 NB-</a:t>
            </a:r>
            <a:r>
              <a:rPr lang="en-US" altLang="zh-CN" sz="27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oT</a:t>
            </a:r>
            <a:r>
              <a:rPr lang="zh-CN" altLang="en-US" sz="2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无线通信模块</a:t>
            </a:r>
            <a:r>
              <a:rPr lang="en-US" altLang="zh-CN" sz="2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sz="2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一键升级流程及失败处理</a:t>
            </a:r>
            <a:r>
              <a:rPr lang="en-US" altLang="zh-CN" sz="2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sz="2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en-US" sz="27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15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17.09</a:t>
            </a:r>
            <a:endParaRPr lang="en-US" sz="15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4994" name="Picture 2" descr="D:\MVNO Business\1. Marketing\Branding\品牌及LOGO\lenovo1011\logo组合\Logo_red-1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367537" y="2023111"/>
            <a:ext cx="3240000" cy="746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586638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99"/>
          <p:cNvSpPr txBox="1"/>
          <p:nvPr/>
        </p:nvSpPr>
        <p:spPr>
          <a:xfrm>
            <a:off x="388883" y="541375"/>
            <a:ext cx="8355724" cy="1077218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360045" indent="-360045"/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1.</a:t>
            </a:r>
            <a:r>
              <a:rPr lang="zh-CN" altLang="en-US" sz="1600" b="0" dirty="0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一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键升级工具步骤介绍</a:t>
            </a:r>
          </a:p>
          <a:p>
            <a:pPr marL="360045" indent="-360045"/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一键升级工具下载的主要步骤包括备份配置项、下载</a:t>
            </a:r>
            <a:r>
              <a:rPr lang="en-US" altLang="zh-CN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bin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文件、恢复配置项等。</a:t>
            </a:r>
          </a:p>
          <a:p>
            <a:pPr marL="360045" indent="-360045"/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升级前请保证</a:t>
            </a:r>
            <a:r>
              <a:rPr lang="en-US" altLang="zh-CN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AT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口和</a:t>
            </a:r>
            <a:r>
              <a:rPr lang="en-US" altLang="zh-CN" sz="160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USB diag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口不被占用，串口工具和</a:t>
            </a:r>
            <a:r>
              <a:rPr lang="en-US" altLang="zh-CN" sz="160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QPST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必须关掉！</a:t>
            </a:r>
          </a:p>
          <a:p>
            <a:pPr marL="360045" indent="-360045"/>
            <a:r>
              <a:rPr lang="en-US" altLang="zh-CN" sz="1600" b="0" dirty="0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2.</a:t>
            </a:r>
            <a:r>
              <a:rPr lang="zh-CN" altLang="en-US" sz="1600" b="0" dirty="0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升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级失败及后果</a:t>
            </a:r>
            <a:endParaRPr lang="zh-CN" altLang="en-US" sz="1600" dirty="0"/>
          </a:p>
        </p:txBody>
      </p:sp>
      <p:pic>
        <p:nvPicPr>
          <p:cNvPr id="8" name="图片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568313" y="1618593"/>
            <a:ext cx="3448050" cy="256222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" name="文本框 100"/>
          <p:cNvSpPr txBox="1"/>
          <p:nvPr/>
        </p:nvSpPr>
        <p:spPr>
          <a:xfrm>
            <a:off x="388883" y="4180818"/>
            <a:ext cx="7840717" cy="746358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0" indent="0"/>
            <a:endParaRPr lang="en-US" altLang="zh-CN" sz="1050" b="0" dirty="0">
              <a:latin typeface="Calibri" panose="020F0502020204030204" charset="0"/>
              <a:ea typeface="Calibri" panose="020F0502020204030204" charset="0"/>
              <a:cs typeface="Calibri" panose="020F0502020204030204" charset="0"/>
            </a:endParaRPr>
          </a:p>
          <a:p>
            <a:pPr marL="0" indent="0"/>
            <a:r>
              <a:rPr lang="en-US" altLang="zh-CN" sz="105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 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如果一键升级下载过程不能</a:t>
            </a:r>
            <a:r>
              <a:rPr lang="en-US" altLang="zh-CN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100%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完成，特别是在下载后期出现升级失败，会造成终端配置项参数丢失，影响模块射频性能。所以，一键升级请务必确保升级</a:t>
            </a:r>
            <a:r>
              <a:rPr lang="en-US" altLang="zh-CN" sz="160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100%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成功。</a:t>
            </a:r>
            <a:endParaRPr lang="zh-CN" alt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"/>
          <p:cNvSpPr txBox="1"/>
          <p:nvPr/>
        </p:nvSpPr>
        <p:spPr>
          <a:xfrm>
            <a:off x="404705" y="564645"/>
            <a:ext cx="8698196" cy="156966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266700" indent="-266700"/>
            <a:r>
              <a:rPr lang="en-US" altLang="zh-CN" sz="1600" b="0" dirty="0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3.</a:t>
            </a:r>
            <a:r>
              <a:rPr lang="zh-CN" altLang="en-US" sz="1600" b="0" dirty="0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升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级失败的</a:t>
            </a:r>
            <a:r>
              <a:rPr lang="en-US" altLang="zh-CN" sz="160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log</a:t>
            </a:r>
            <a:endParaRPr lang="en-US" altLang="zh-CN" sz="1600" b="0" dirty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266700" indent="-266700"/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如果升级失败，该次升级的</a:t>
            </a:r>
            <a:r>
              <a:rPr lang="en-US" altLang="zh-CN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log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信息存放在</a:t>
            </a:r>
            <a:r>
              <a:rPr lang="en-US" altLang="zh-CN" sz="160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C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：盘根目录下。可以查看该</a:t>
            </a:r>
            <a:r>
              <a:rPr lang="en-US" altLang="zh-CN" sz="160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log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文件或将</a:t>
            </a:r>
            <a:r>
              <a:rPr lang="en-US" altLang="zh-CN" sz="160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log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文件</a:t>
            </a:r>
            <a:r>
              <a:rPr lang="zh-CN" altLang="en-US" sz="1600" b="0" dirty="0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发给工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具工程师确认升级失败的原因。</a:t>
            </a:r>
          </a:p>
          <a:p>
            <a:pPr marL="266700" indent="-266700"/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保存配置的文件及文件命名规</a:t>
            </a:r>
            <a:r>
              <a:rPr lang="zh-CN" altLang="en-US" sz="1600" b="0" dirty="0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则，如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升级失败，备份的配置文件存放在：</a:t>
            </a:r>
            <a:endParaRPr lang="zh-CN" altLang="en-US" sz="1600" b="0" dirty="0">
              <a:latin typeface="Calibri" panose="020F0502020204030204" charset="0"/>
              <a:ea typeface="Calibri" panose="020F0502020204030204" charset="0"/>
              <a:cs typeface="Calibri" panose="020F0502020204030204" charset="0"/>
            </a:endParaRPr>
          </a:p>
          <a:p>
            <a:pPr marL="266700" indent="-266700"/>
            <a:r>
              <a:rPr lang="en-US" altLang="zh-CN" sz="160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C:\Users\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当前用户</a:t>
            </a:r>
            <a:r>
              <a:rPr lang="en-US" altLang="zh-CN" sz="160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\AppData\Local\Temp\Backup</a:t>
            </a:r>
            <a:r>
              <a:rPr lang="en-US" altLang="zh-CN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\</a:t>
            </a:r>
            <a:r>
              <a:rPr lang="en-US" altLang="zh-CN" sz="160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SN[DB10001T474E00093]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目录下，文件名包</a:t>
            </a:r>
            <a:r>
              <a:rPr lang="zh-CN" altLang="en-US" sz="1600" b="0" dirty="0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含升级模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块的</a:t>
            </a:r>
            <a:r>
              <a:rPr lang="en-US" altLang="zh-CN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SN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信息。</a:t>
            </a:r>
            <a:endParaRPr lang="zh-CN" altLang="en-US" sz="1600" dirty="0"/>
          </a:p>
        </p:txBody>
      </p:sp>
      <p:pic>
        <p:nvPicPr>
          <p:cNvPr id="7" name="图片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882277" y="2527443"/>
            <a:ext cx="5289086" cy="174737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01"/>
          <p:cNvSpPr txBox="1"/>
          <p:nvPr/>
        </p:nvSpPr>
        <p:spPr>
          <a:xfrm>
            <a:off x="387077" y="624205"/>
            <a:ext cx="8591944" cy="830997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266700" indent="-266700"/>
            <a:r>
              <a:rPr lang="en-US" altLang="zh-CN" sz="1600" b="0" dirty="0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4.</a:t>
            </a:r>
            <a:r>
              <a:rPr lang="zh-CN" altLang="en-US" sz="1600" b="0" dirty="0" smtClean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输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入</a:t>
            </a:r>
            <a:r>
              <a:rPr lang="en-US" altLang="zh-CN" sz="1600" b="0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SN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号重新升级</a:t>
            </a:r>
          </a:p>
          <a:p>
            <a:pPr marL="266700" indent="-266700"/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在排除掉导致升级失败的因素后，可以尝试重新再次升级，再次升级时会提升输入模块的</a:t>
            </a:r>
            <a:r>
              <a:rPr lang="en-US" altLang="zh-CN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SN</a:t>
            </a:r>
            <a:r>
              <a:rPr lang="zh-CN" altLang="en-US" sz="16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号，这样升级后会把备份的配置项恢复到终端。</a:t>
            </a:r>
            <a:endParaRPr lang="zh-CN" altLang="en-US" sz="1600" dirty="0"/>
          </a:p>
        </p:txBody>
      </p:sp>
      <p:pic>
        <p:nvPicPr>
          <p:cNvPr id="7" name="图片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549130" y="1797977"/>
            <a:ext cx="3933864" cy="2733831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455080" y="4314910"/>
            <a:ext cx="3937544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285750" indent="-285750" algn="just">
              <a:spcAft>
                <a:spcPts val="600"/>
              </a:spcAft>
            </a:pPr>
            <a:r>
              <a:rPr lang="zh-CN" altLang="en-US" sz="1400" dirty="0" smtClean="0"/>
              <a:t>李晶</a:t>
            </a:r>
            <a:r>
              <a:rPr lang="zh-CN" altLang="en-US" sz="1400" dirty="0" smtClean="0"/>
              <a:t>洁    </a:t>
            </a:r>
            <a:r>
              <a:rPr lang="en-US" altLang="zh-CN" sz="1400" dirty="0" smtClean="0"/>
              <a:t>13905314931   lijj@lenovoconnect.com</a:t>
            </a:r>
            <a:endParaRPr lang="zh-CN" altLang="en-US" sz="1400" dirty="0" smtClean="0"/>
          </a:p>
        </p:txBody>
      </p:sp>
    </p:spTree>
    <p:extLst>
      <p:ext uri="{BB962C8B-B14F-4D97-AF65-F5344CB8AC3E}">
        <p14:creationId xmlns="" xmlns:p14="http://schemas.microsoft.com/office/powerpoint/2010/main" val="253907783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QP1jyFc0GguUCOjBeyUA"/>
</p:tagLst>
</file>

<file path=ppt/theme/theme1.xml><?xml version="1.0" encoding="utf-8"?>
<a:theme xmlns:a="http://schemas.openxmlformats.org/drawingml/2006/main" name="睿信致成">
  <a:themeElements>
    <a:clrScheme name="自定义 2">
      <a:dk1>
        <a:srgbClr val="000000"/>
      </a:dk1>
      <a:lt1>
        <a:srgbClr val="FFFFFF"/>
      </a:lt1>
      <a:dk2>
        <a:srgbClr val="FF0000"/>
      </a:dk2>
      <a:lt2>
        <a:srgbClr val="0D3264"/>
      </a:lt2>
      <a:accent1>
        <a:srgbClr val="0E3365"/>
      </a:accent1>
      <a:accent2>
        <a:srgbClr val="0075C2"/>
      </a:accent2>
      <a:accent3>
        <a:srgbClr val="5FBFFF"/>
      </a:accent3>
      <a:accent4>
        <a:srgbClr val="CCE8FF"/>
      </a:accent4>
      <a:accent5>
        <a:srgbClr val="003894"/>
      </a:accent5>
      <a:accent6>
        <a:srgbClr val="EA5504"/>
      </a:accent6>
      <a:hlink>
        <a:srgbClr val="EA5504"/>
      </a:hlink>
      <a:folHlink>
        <a:srgbClr val="00FFFF"/>
      </a:folHlink>
    </a:clrScheme>
    <a:fontScheme name="睿信致成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  <a:prstDash val="solid"/>
        </a:ln>
      </a:spPr>
      <a:bodyPr lIns="36000" tIns="36000" rIns="36000" bIns="36000" rtlCol="0" anchor="ctr"/>
      <a:lstStyle>
        <a:defPPr algn="ctr">
          <a:defRPr sz="14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 marL="285750" indent="-285750" algn="just">
          <a:spcAft>
            <a:spcPts val="600"/>
          </a:spcAft>
          <a:buFont typeface="Arial" pitchFamily="34" charset="0"/>
          <a:buChar char="•"/>
          <a:defRPr sz="14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睿信致成" id="{C664CABB-25A7-3E4B-B4C8-D6482169531B}" vid="{EC6CAC07-CC02-F741-A558-46798A2F5F5B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睿信致成</Template>
  <TotalTime>137471</TotalTime>
  <Words>369</Words>
  <Application>Microsoft Office PowerPoint</Application>
  <PresentationFormat>全屏显示(16:9)</PresentationFormat>
  <Paragraphs>15</Paragraphs>
  <Slides>5</Slides>
  <Notes>0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6" baseType="lpstr">
      <vt:lpstr>睿信致成</vt:lpstr>
      <vt:lpstr>联想C1100 NB-IoT无线通信模块 一键升级流程及失败处理 </vt:lpstr>
      <vt:lpstr>幻灯片 1</vt:lpstr>
      <vt:lpstr>幻灯片 2</vt:lpstr>
      <vt:lpstr>幻灯片 3</vt:lpstr>
      <vt:lpstr>幻灯片 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hael ZHU</dc:creator>
  <cp:lastModifiedBy>Li</cp:lastModifiedBy>
  <cp:revision>6211</cp:revision>
  <cp:lastPrinted>2016-09-30T01:46:22Z</cp:lastPrinted>
  <dcterms:created xsi:type="dcterms:W3CDTF">2013-01-23T15:58:43Z</dcterms:created>
  <dcterms:modified xsi:type="dcterms:W3CDTF">2017-09-24T06:07:49Z</dcterms:modified>
</cp:coreProperties>
</file>